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24_48B4857C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48" r:id="rId2"/>
  </p:sldMasterIdLst>
  <p:notesMasterIdLst>
    <p:notesMasterId r:id="rId12"/>
  </p:notesMasterIdLst>
  <p:sldIdLst>
    <p:sldId id="256" r:id="rId3"/>
    <p:sldId id="260" r:id="rId4"/>
    <p:sldId id="293" r:id="rId5"/>
    <p:sldId id="294" r:id="rId6"/>
    <p:sldId id="295" r:id="rId7"/>
    <p:sldId id="291" r:id="rId8"/>
    <p:sldId id="292" r:id="rId9"/>
    <p:sldId id="258" r:id="rId10"/>
    <p:sldId id="296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A2A725C-B157-80AA-FC1E-1CB43BF1FD5E}" name="Ware, Wendy" initials="WW" userId="S::wendy.ware@angloamerican.com::4e24ba76-4d27-4854-bc92-5bb3482c428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EA72E"/>
    <a:srgbClr val="196B24"/>
    <a:srgbClr val="A02B93"/>
    <a:srgbClr val="0F9ED5"/>
    <a:srgbClr val="05043B"/>
    <a:srgbClr val="667A9B"/>
    <a:srgbClr val="67544D"/>
    <a:srgbClr val="A67D79"/>
    <a:srgbClr val="6790F6"/>
    <a:srgbClr val="657B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C7C095-05C7-4F23-8B79-1A1530CB207C}" v="18" dt="2024-08-26T11:54:03.7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6" autoAdjust="0"/>
    <p:restoredTop sz="57432" autoAdjust="0"/>
  </p:normalViewPr>
  <p:slideViewPr>
    <p:cSldViewPr snapToGrid="0">
      <p:cViewPr>
        <p:scale>
          <a:sx n="33" d="100"/>
          <a:sy n="33" d="100"/>
        </p:scale>
        <p:origin x="1279" y="3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mmy Powell" userId="35fb1409c2f5492d" providerId="LiveId" clId="{D8C7C095-05C7-4F23-8B79-1A1530CB207C}"/>
    <pc:docChg chg="custSel addSld modSld sldOrd">
      <pc:chgData name="Tammy Powell" userId="35fb1409c2f5492d" providerId="LiveId" clId="{D8C7C095-05C7-4F23-8B79-1A1530CB207C}" dt="2024-08-26T11:54:03.703" v="741" actId="1076"/>
      <pc:docMkLst>
        <pc:docMk/>
      </pc:docMkLst>
      <pc:sldChg chg="addSp delSp modSp mod">
        <pc:chgData name="Tammy Powell" userId="35fb1409c2f5492d" providerId="LiveId" clId="{D8C7C095-05C7-4F23-8B79-1A1530CB207C}" dt="2024-08-26T11:30:13.818" v="268" actId="1076"/>
        <pc:sldMkLst>
          <pc:docMk/>
          <pc:sldMk cId="2893999532" sldId="256"/>
        </pc:sldMkLst>
        <pc:spChg chg="mod">
          <ac:chgData name="Tammy Powell" userId="35fb1409c2f5492d" providerId="LiveId" clId="{D8C7C095-05C7-4F23-8B79-1A1530CB207C}" dt="2024-08-26T11:28:48.124" v="266" actId="1076"/>
          <ac:spMkLst>
            <pc:docMk/>
            <pc:sldMk cId="2893999532" sldId="256"/>
            <ac:spMk id="3" creationId="{40B497E8-EBA3-662C-ACA4-01C96E855AC2}"/>
          </ac:spMkLst>
        </pc:spChg>
        <pc:spChg chg="add mod">
          <ac:chgData name="Tammy Powell" userId="35fb1409c2f5492d" providerId="LiveId" clId="{D8C7C095-05C7-4F23-8B79-1A1530CB207C}" dt="2024-08-26T11:30:13.818" v="268" actId="1076"/>
          <ac:spMkLst>
            <pc:docMk/>
            <pc:sldMk cId="2893999532" sldId="256"/>
            <ac:spMk id="11" creationId="{44722EB5-BEF1-16AB-321B-71C84D96C57E}"/>
          </ac:spMkLst>
        </pc:spChg>
        <pc:picChg chg="add mod">
          <ac:chgData name="Tammy Powell" userId="35fb1409c2f5492d" providerId="LiveId" clId="{D8C7C095-05C7-4F23-8B79-1A1530CB207C}" dt="2024-08-26T11:23:37.284" v="1"/>
          <ac:picMkLst>
            <pc:docMk/>
            <pc:sldMk cId="2893999532" sldId="256"/>
            <ac:picMk id="4" creationId="{FDF896F7-5891-6A41-87CB-232A89796E79}"/>
          </ac:picMkLst>
        </pc:picChg>
        <pc:picChg chg="del mod">
          <ac:chgData name="Tammy Powell" userId="35fb1409c2f5492d" providerId="LiveId" clId="{D8C7C095-05C7-4F23-8B79-1A1530CB207C}" dt="2024-08-26T11:25:17.279" v="41" actId="478"/>
          <ac:picMkLst>
            <pc:docMk/>
            <pc:sldMk cId="2893999532" sldId="256"/>
            <ac:picMk id="5" creationId="{E2D1507E-4AAB-1F73-A299-18BCF2297492}"/>
          </ac:picMkLst>
        </pc:picChg>
        <pc:picChg chg="add del mod">
          <ac:chgData name="Tammy Powell" userId="35fb1409c2f5492d" providerId="LiveId" clId="{D8C7C095-05C7-4F23-8B79-1A1530CB207C}" dt="2024-08-26T11:25:45.715" v="52" actId="478"/>
          <ac:picMkLst>
            <pc:docMk/>
            <pc:sldMk cId="2893999532" sldId="256"/>
            <ac:picMk id="6" creationId="{61832ADF-64B4-2589-21AE-DD04A72DA99E}"/>
          </ac:picMkLst>
        </pc:picChg>
        <pc:picChg chg="mod">
          <ac:chgData name="Tammy Powell" userId="35fb1409c2f5492d" providerId="LiveId" clId="{D8C7C095-05C7-4F23-8B79-1A1530CB207C}" dt="2024-08-26T11:24:13.910" v="11" actId="207"/>
          <ac:picMkLst>
            <pc:docMk/>
            <pc:sldMk cId="2893999532" sldId="256"/>
            <ac:picMk id="7" creationId="{1FA3E685-22C8-8B83-98D8-A6E5EA666B44}"/>
          </ac:picMkLst>
        </pc:picChg>
        <pc:picChg chg="add del mod">
          <ac:chgData name="Tammy Powell" userId="35fb1409c2f5492d" providerId="LiveId" clId="{D8C7C095-05C7-4F23-8B79-1A1530CB207C}" dt="2024-08-26T11:25:47.732" v="54" actId="478"/>
          <ac:picMkLst>
            <pc:docMk/>
            <pc:sldMk cId="2893999532" sldId="256"/>
            <ac:picMk id="8" creationId="{53140F91-7225-EDCF-AAAB-F7A845BD0D42}"/>
          </ac:picMkLst>
        </pc:picChg>
        <pc:picChg chg="add del mod">
          <ac:chgData name="Tammy Powell" userId="35fb1409c2f5492d" providerId="LiveId" clId="{D8C7C095-05C7-4F23-8B79-1A1530CB207C}" dt="2024-08-26T11:25:48.604" v="55" actId="478"/>
          <ac:picMkLst>
            <pc:docMk/>
            <pc:sldMk cId="2893999532" sldId="256"/>
            <ac:picMk id="9" creationId="{8751B5FE-1BBC-B2F4-BED0-2308F43F11FC}"/>
          </ac:picMkLst>
        </pc:picChg>
        <pc:picChg chg="add del mod">
          <ac:chgData name="Tammy Powell" userId="35fb1409c2f5492d" providerId="LiveId" clId="{D8C7C095-05C7-4F23-8B79-1A1530CB207C}" dt="2024-08-26T11:25:46.784" v="53" actId="478"/>
          <ac:picMkLst>
            <pc:docMk/>
            <pc:sldMk cId="2893999532" sldId="256"/>
            <ac:picMk id="10" creationId="{B31B5530-04CE-C74A-4806-2A71AF55413A}"/>
          </ac:picMkLst>
        </pc:picChg>
      </pc:sldChg>
      <pc:sldChg chg="addSp modSp mod">
        <pc:chgData name="Tammy Powell" userId="35fb1409c2f5492d" providerId="LiveId" clId="{D8C7C095-05C7-4F23-8B79-1A1530CB207C}" dt="2024-08-26T11:50:30.362" v="719" actId="14100"/>
        <pc:sldMkLst>
          <pc:docMk/>
          <pc:sldMk cId="2204377423" sldId="258"/>
        </pc:sldMkLst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2" creationId="{760E509C-F1BE-7854-498F-EA4862141DE3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3" creationId="{E131F5BC-7EFE-2795-EB95-53A2CC0307A1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4" creationId="{BF02B596-DDDC-DCED-1C96-E90CD71781E8}"/>
          </ac:spMkLst>
        </pc:spChg>
        <pc:spChg chg="mod">
          <ac:chgData name="Tammy Powell" userId="35fb1409c2f5492d" providerId="LiveId" clId="{D8C7C095-05C7-4F23-8B79-1A1530CB207C}" dt="2024-08-26T11:50:30.362" v="719" actId="14100"/>
          <ac:spMkLst>
            <pc:docMk/>
            <pc:sldMk cId="2204377423" sldId="258"/>
            <ac:spMk id="6" creationId="{B29A9BFA-4CBE-212A-7279-B94F9AD7A5B4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10" creationId="{0024BA28-FD47-91D3-09CC-AF04D7B38377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11" creationId="{5ADA312E-5C81-2431-AE38-516F5B2E21FD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15" creationId="{343798C5-2604-FA19-0767-23BCFC1FBC3E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17" creationId="{8491C307-C6AA-24F7-5BE8-A886954A2C3F}"/>
          </ac:spMkLst>
        </pc:spChg>
        <pc:spChg chg="mod">
          <ac:chgData name="Tammy Powell" userId="35fb1409c2f5492d" providerId="LiveId" clId="{D8C7C095-05C7-4F23-8B79-1A1530CB207C}" dt="2024-08-26T11:50:23.406" v="718" actId="20577"/>
          <ac:spMkLst>
            <pc:docMk/>
            <pc:sldMk cId="2204377423" sldId="258"/>
            <ac:spMk id="21" creationId="{74F20047-72D6-937B-866D-C945172D1002}"/>
          </ac:spMkLst>
        </pc:spChg>
        <pc:spChg chg="mod">
          <ac:chgData name="Tammy Powell" userId="35fb1409c2f5492d" providerId="LiveId" clId="{D8C7C095-05C7-4F23-8B79-1A1530CB207C}" dt="2024-08-26T11:49:46.039" v="695" actId="1076"/>
          <ac:spMkLst>
            <pc:docMk/>
            <pc:sldMk cId="2204377423" sldId="258"/>
            <ac:spMk id="23" creationId="{ADD4BFB1-F478-23BE-7EE1-7555A6D67C56}"/>
          </ac:spMkLst>
        </pc:spChg>
        <pc:grpChg chg="add mod">
          <ac:chgData name="Tammy Powell" userId="35fb1409c2f5492d" providerId="LiveId" clId="{D8C7C095-05C7-4F23-8B79-1A1530CB207C}" dt="2024-08-26T11:48:50.628" v="692" actId="1076"/>
          <ac:grpSpMkLst>
            <pc:docMk/>
            <pc:sldMk cId="2204377423" sldId="258"/>
            <ac:grpSpMk id="5" creationId="{2CC6C58D-ED1C-FEC3-B46A-3FA6AD0825E7}"/>
          </ac:grpSpMkLst>
        </pc:grpChg>
        <pc:grpChg chg="mod">
          <ac:chgData name="Tammy Powell" userId="35fb1409c2f5492d" providerId="LiveId" clId="{D8C7C095-05C7-4F23-8B79-1A1530CB207C}" dt="2024-08-26T11:49:26.863" v="693" actId="1076"/>
          <ac:grpSpMkLst>
            <pc:docMk/>
            <pc:sldMk cId="2204377423" sldId="258"/>
            <ac:grpSpMk id="31" creationId="{4E63E5CF-7A0C-5D35-B56F-9E0EB2DDB947}"/>
          </ac:grpSpMkLst>
        </pc:grpChg>
      </pc:sldChg>
      <pc:sldChg chg="ord">
        <pc:chgData name="Tammy Powell" userId="35fb1409c2f5492d" providerId="LiveId" clId="{D8C7C095-05C7-4F23-8B79-1A1530CB207C}" dt="2024-08-26T11:48:21.790" v="690"/>
        <pc:sldMkLst>
          <pc:docMk/>
          <pc:sldMk cId="730908445" sldId="259"/>
        </pc:sldMkLst>
      </pc:sldChg>
      <pc:sldChg chg="addSp delSp modSp mod">
        <pc:chgData name="Tammy Powell" userId="35fb1409c2f5492d" providerId="LiveId" clId="{D8C7C095-05C7-4F23-8B79-1A1530CB207C}" dt="2024-08-26T11:54:03.703" v="741" actId="1076"/>
        <pc:sldMkLst>
          <pc:docMk/>
          <pc:sldMk cId="3471958581" sldId="260"/>
        </pc:sldMkLst>
        <pc:spChg chg="add del mod">
          <ac:chgData name="Tammy Powell" userId="35fb1409c2f5492d" providerId="LiveId" clId="{D8C7C095-05C7-4F23-8B79-1A1530CB207C}" dt="2024-08-26T11:37:22.475" v="314" actId="478"/>
          <ac:spMkLst>
            <pc:docMk/>
            <pc:sldMk cId="3471958581" sldId="260"/>
            <ac:spMk id="2" creationId="{D2DC82B7-7363-0AB1-698F-FCEA0161DA87}"/>
          </ac:spMkLst>
        </pc:spChg>
        <pc:spChg chg="add mod">
          <ac:chgData name="Tammy Powell" userId="35fb1409c2f5492d" providerId="LiveId" clId="{D8C7C095-05C7-4F23-8B79-1A1530CB207C}" dt="2024-08-26T11:54:01.413" v="740" actId="14100"/>
          <ac:spMkLst>
            <pc:docMk/>
            <pc:sldMk cId="3471958581" sldId="260"/>
            <ac:spMk id="3" creationId="{71AE09C8-43E5-1907-4ACF-704E4494BF2D}"/>
          </ac:spMkLst>
        </pc:spChg>
        <pc:picChg chg="add mod">
          <ac:chgData name="Tammy Powell" userId="35fb1409c2f5492d" providerId="LiveId" clId="{D8C7C095-05C7-4F23-8B79-1A1530CB207C}" dt="2024-08-26T11:54:03.703" v="741" actId="1076"/>
          <ac:picMkLst>
            <pc:docMk/>
            <pc:sldMk cId="3471958581" sldId="260"/>
            <ac:picMk id="1026" creationId="{FD6B45EF-0D1E-1597-209E-8482F66400CF}"/>
          </ac:picMkLst>
        </pc:picChg>
      </pc:sldChg>
      <pc:sldChg chg="addSp delSp modSp new mod">
        <pc:chgData name="Tammy Powell" userId="35fb1409c2f5492d" providerId="LiveId" clId="{D8C7C095-05C7-4F23-8B79-1A1530CB207C}" dt="2024-08-26T11:47:02.225" v="655" actId="1076"/>
        <pc:sldMkLst>
          <pc:docMk/>
          <pc:sldMk cId="3099477319" sldId="293"/>
        </pc:sldMkLst>
        <pc:spChg chg="add mod">
          <ac:chgData name="Tammy Powell" userId="35fb1409c2f5492d" providerId="LiveId" clId="{D8C7C095-05C7-4F23-8B79-1A1530CB207C}" dt="2024-08-26T11:43:10.599" v="452" actId="14100"/>
          <ac:spMkLst>
            <pc:docMk/>
            <pc:sldMk cId="3099477319" sldId="293"/>
            <ac:spMk id="2" creationId="{A137827B-CE2E-B0A1-A5C5-8B8311E18A54}"/>
          </ac:spMkLst>
        </pc:spChg>
        <pc:spChg chg="add del mod">
          <ac:chgData name="Tammy Powell" userId="35fb1409c2f5492d" providerId="LiveId" clId="{D8C7C095-05C7-4F23-8B79-1A1530CB207C}" dt="2024-08-26T11:46:16.710" v="556"/>
          <ac:spMkLst>
            <pc:docMk/>
            <pc:sldMk cId="3099477319" sldId="293"/>
            <ac:spMk id="5" creationId="{779C5BFA-96B7-C97A-E2C2-CCC454E5F169}"/>
          </ac:spMkLst>
        </pc:spChg>
        <pc:spChg chg="add mod">
          <ac:chgData name="Tammy Powell" userId="35fb1409c2f5492d" providerId="LiveId" clId="{D8C7C095-05C7-4F23-8B79-1A1530CB207C}" dt="2024-08-26T11:47:02.225" v="655" actId="1076"/>
          <ac:spMkLst>
            <pc:docMk/>
            <pc:sldMk cId="3099477319" sldId="293"/>
            <ac:spMk id="6" creationId="{ED2A28AB-8913-7F0B-4042-DDC89E77DCD0}"/>
          </ac:spMkLst>
        </pc:spChg>
        <pc:picChg chg="add mod">
          <ac:chgData name="Tammy Powell" userId="35fb1409c2f5492d" providerId="LiveId" clId="{D8C7C095-05C7-4F23-8B79-1A1530CB207C}" dt="2024-08-26T11:46:15.830" v="554" actId="207"/>
          <ac:picMkLst>
            <pc:docMk/>
            <pc:sldMk cId="3099477319" sldId="293"/>
            <ac:picMk id="4" creationId="{39D61A37-57D2-C0D8-9682-4E511BB825E6}"/>
          </ac:picMkLst>
        </pc:picChg>
      </pc:sldChg>
    </pc:docChg>
  </pc:docChgLst>
</pc:chgInfo>
</file>

<file path=ppt/comments/modernComment_124_48B4857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E74F5DC-7753-4620-8040-39D3E4620708}" authorId="{DA2A725C-B157-80AA-FC1E-1CB43BF1FD5E}" created="2024-08-28T06:13:00.479">
    <pc:sldMkLst xmlns:pc="http://schemas.microsoft.com/office/powerpoint/2013/main/command">
      <pc:docMk/>
      <pc:sldMk cId="1219790204" sldId="292"/>
    </pc:sldMkLst>
    <p188:txBody>
      <a:bodyPr/>
      <a:lstStyle/>
      <a:p>
        <a:r>
          <a:rPr lang="en-US"/>
          <a:t>CURRENTLY WORKING ON THIS SLID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EF9983-7B16-4912-A75D-E8D611801927}" type="datetimeFigureOut">
              <a:rPr lang="en-US" smtClean="0"/>
              <a:t>8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B266E1-CF86-4AAB-956B-04E1E502B7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168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055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Sin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364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Sin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814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Uth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AFCCC-0693-46BF-8425-81CACD7D9CC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1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Uth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AFCCC-0693-46BF-8425-81CACD7D9CC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8902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70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13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7ECA4-8303-F679-7710-E52A99F2D4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5A90B2-6E78-9903-E28E-837DB2AAD2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514B9-3738-1E8C-7FE9-7CCA7A547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CCA30-0C69-1CB2-372F-9F9672DED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8B53E-3A4F-8A05-17C0-D7CB81D9B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48940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E0515-E29A-D6E9-1660-C87541611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C3C77C-0BD4-7F1B-460C-6BF0FFE876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29DE17-89D9-6A26-06FA-D2DC1B7D13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1F84F9-70D8-5A62-E33F-C4551BE8B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C5291C-55CC-9E32-12D2-8CEB01383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391540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4676E7-A85D-3492-8716-7B83FEFDBE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B8CA26-C724-813D-BDD7-88F06F502A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1DC60-F954-EA13-F6ED-B68BCC8DE1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F35FB4-98AB-829D-FE02-CF57C4AB88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864B75-5B3E-FC41-35EE-C76169333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64795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ipl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D735822-5153-9E23-9F89-4726F640C9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830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Group 35">
            <a:extLst>
              <a:ext uri="{FF2B5EF4-FFF2-40B4-BE49-F238E27FC236}">
                <a16:creationId xmlns:a16="http://schemas.microsoft.com/office/drawing/2014/main" id="{90124243-35B7-C068-DE23-492108FABD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83908" y="1777856"/>
            <a:ext cx="1170522" cy="4672600"/>
            <a:chOff x="240708" y="1496310"/>
            <a:chExt cx="1170522" cy="4672600"/>
          </a:xfrm>
        </p:grpSpPr>
        <p:sp>
          <p:nvSpPr>
            <p:cNvPr id="7" name="Freeform: Shape 6" descr="timeline ">
              <a:extLst>
                <a:ext uri="{FF2B5EF4-FFF2-40B4-BE49-F238E27FC236}">
                  <a16:creationId xmlns:a16="http://schemas.microsoft.com/office/drawing/2014/main" id="{85E97D83-32EE-1082-8AC3-2D488569095E}"/>
                </a:ext>
              </a:extLst>
            </p:cNvPr>
            <p:cNvSpPr/>
            <p:nvPr userDrawn="1"/>
          </p:nvSpPr>
          <p:spPr>
            <a:xfrm rot="16200000" flipV="1">
              <a:off x="-1456639" y="3241639"/>
              <a:ext cx="4565215" cy="1170522"/>
            </a:xfrm>
            <a:custGeom>
              <a:avLst/>
              <a:gdLst>
                <a:gd name="connsiteX0" fmla="*/ 1450750 w 5658193"/>
                <a:gd name="connsiteY0" fmla="*/ 725607 h 1450763"/>
                <a:gd name="connsiteX1" fmla="*/ 1449830 w 5658193"/>
                <a:gd name="connsiteY1" fmla="*/ 725607 h 1450763"/>
                <a:gd name="connsiteX2" fmla="*/ 1449806 w 5658193"/>
                <a:gd name="connsiteY2" fmla="*/ 725382 h 1450763"/>
                <a:gd name="connsiteX3" fmla="*/ 1449830 w 5658193"/>
                <a:gd name="connsiteY3" fmla="*/ 725157 h 1450763"/>
                <a:gd name="connsiteX4" fmla="*/ 1402870 w 5658193"/>
                <a:gd name="connsiteY4" fmla="*/ 725157 h 1450763"/>
                <a:gd name="connsiteX5" fmla="*/ 1389130 w 5658193"/>
                <a:gd name="connsiteY5" fmla="*/ 588840 h 1450763"/>
                <a:gd name="connsiteX6" fmla="*/ 725382 w 5658193"/>
                <a:gd name="connsiteY6" fmla="*/ 47869 h 1450763"/>
                <a:gd name="connsiteX7" fmla="*/ 47868 w 5658193"/>
                <a:gd name="connsiteY7" fmla="*/ 725382 h 1450763"/>
                <a:gd name="connsiteX8" fmla="*/ 47890 w 5658193"/>
                <a:gd name="connsiteY8" fmla="*/ 725607 h 1450763"/>
                <a:gd name="connsiteX9" fmla="*/ 10 w 5658193"/>
                <a:gd name="connsiteY9" fmla="*/ 725607 h 1450763"/>
                <a:gd name="connsiteX10" fmla="*/ 0 w 5658193"/>
                <a:gd name="connsiteY10" fmla="*/ 725382 h 1450763"/>
                <a:gd name="connsiteX11" fmla="*/ 725382 w 5658193"/>
                <a:gd name="connsiteY11" fmla="*/ 1 h 1450763"/>
                <a:gd name="connsiteX12" fmla="*/ 1450762 w 5658193"/>
                <a:gd name="connsiteY12" fmla="*/ 725382 h 1450763"/>
                <a:gd name="connsiteX13" fmla="*/ 4932812 w 5658193"/>
                <a:gd name="connsiteY13" fmla="*/ 1450762 h 1450763"/>
                <a:gd name="connsiteX14" fmla="*/ 4207431 w 5658193"/>
                <a:gd name="connsiteY14" fmla="*/ 725381 h 1450763"/>
                <a:gd name="connsiteX15" fmla="*/ 4207442 w 5658193"/>
                <a:gd name="connsiteY15" fmla="*/ 725156 h 1450763"/>
                <a:gd name="connsiteX16" fmla="*/ 4208363 w 5658193"/>
                <a:gd name="connsiteY16" fmla="*/ 725156 h 1450763"/>
                <a:gd name="connsiteX17" fmla="*/ 4208386 w 5658193"/>
                <a:gd name="connsiteY17" fmla="*/ 725381 h 1450763"/>
                <a:gd name="connsiteX18" fmla="*/ 4208363 w 5658193"/>
                <a:gd name="connsiteY18" fmla="*/ 725606 h 1450763"/>
                <a:gd name="connsiteX19" fmla="*/ 4255322 w 5658193"/>
                <a:gd name="connsiteY19" fmla="*/ 725606 h 1450763"/>
                <a:gd name="connsiteX20" fmla="*/ 4269064 w 5658193"/>
                <a:gd name="connsiteY20" fmla="*/ 861924 h 1450763"/>
                <a:gd name="connsiteX21" fmla="*/ 4932812 w 5658193"/>
                <a:gd name="connsiteY21" fmla="*/ 1402894 h 1450763"/>
                <a:gd name="connsiteX22" fmla="*/ 5610325 w 5658193"/>
                <a:gd name="connsiteY22" fmla="*/ 725381 h 1450763"/>
                <a:gd name="connsiteX23" fmla="*/ 5610302 w 5658193"/>
                <a:gd name="connsiteY23" fmla="*/ 725156 h 1450763"/>
                <a:gd name="connsiteX24" fmla="*/ 5658182 w 5658193"/>
                <a:gd name="connsiteY24" fmla="*/ 725156 h 1450763"/>
                <a:gd name="connsiteX25" fmla="*/ 5658193 w 5658193"/>
                <a:gd name="connsiteY25" fmla="*/ 725381 h 1450763"/>
                <a:gd name="connsiteX26" fmla="*/ 4932812 w 5658193"/>
                <a:gd name="connsiteY26" fmla="*/ 1450762 h 1450763"/>
                <a:gd name="connsiteX27" fmla="*/ 2127320 w 5658193"/>
                <a:gd name="connsiteY27" fmla="*/ 1450763 h 1450763"/>
                <a:gd name="connsiteX28" fmla="*/ 1401938 w 5658193"/>
                <a:gd name="connsiteY28" fmla="*/ 725382 h 1450763"/>
                <a:gd name="connsiteX29" fmla="*/ 1401950 w 5658193"/>
                <a:gd name="connsiteY29" fmla="*/ 725157 h 1450763"/>
                <a:gd name="connsiteX30" fmla="*/ 1402870 w 5658193"/>
                <a:gd name="connsiteY30" fmla="*/ 725157 h 1450763"/>
                <a:gd name="connsiteX31" fmla="*/ 1402894 w 5658193"/>
                <a:gd name="connsiteY31" fmla="*/ 725382 h 1450763"/>
                <a:gd name="connsiteX32" fmla="*/ 1402870 w 5658193"/>
                <a:gd name="connsiteY32" fmla="*/ 725607 h 1450763"/>
                <a:gd name="connsiteX33" fmla="*/ 1449830 w 5658193"/>
                <a:gd name="connsiteY33" fmla="*/ 725607 h 1450763"/>
                <a:gd name="connsiteX34" fmla="*/ 1463572 w 5658193"/>
                <a:gd name="connsiteY34" fmla="*/ 861925 h 1450763"/>
                <a:gd name="connsiteX35" fmla="*/ 2127320 w 5658193"/>
                <a:gd name="connsiteY35" fmla="*/ 1402895 h 1450763"/>
                <a:gd name="connsiteX36" fmla="*/ 2804833 w 5658193"/>
                <a:gd name="connsiteY36" fmla="*/ 725382 h 1450763"/>
                <a:gd name="connsiteX37" fmla="*/ 2804810 w 5658193"/>
                <a:gd name="connsiteY37" fmla="*/ 725157 h 1450763"/>
                <a:gd name="connsiteX38" fmla="*/ 2805515 w 5658193"/>
                <a:gd name="connsiteY38" fmla="*/ 725157 h 1450763"/>
                <a:gd name="connsiteX39" fmla="*/ 2820229 w 5658193"/>
                <a:gd name="connsiteY39" fmla="*/ 579192 h 1450763"/>
                <a:gd name="connsiteX40" fmla="*/ 3530873 w 5658193"/>
                <a:gd name="connsiteY40" fmla="*/ 0 h 1450763"/>
                <a:gd name="connsiteX41" fmla="*/ 4256254 w 5658193"/>
                <a:gd name="connsiteY41" fmla="*/ 725381 h 1450763"/>
                <a:gd name="connsiteX42" fmla="*/ 4256243 w 5658193"/>
                <a:gd name="connsiteY42" fmla="*/ 725606 h 1450763"/>
                <a:gd name="connsiteX43" fmla="*/ 4255322 w 5658193"/>
                <a:gd name="connsiteY43" fmla="*/ 725606 h 1450763"/>
                <a:gd name="connsiteX44" fmla="*/ 4255299 w 5658193"/>
                <a:gd name="connsiteY44" fmla="*/ 725381 h 1450763"/>
                <a:gd name="connsiteX45" fmla="*/ 4255322 w 5658193"/>
                <a:gd name="connsiteY45" fmla="*/ 725156 h 1450763"/>
                <a:gd name="connsiteX46" fmla="*/ 4208363 w 5658193"/>
                <a:gd name="connsiteY46" fmla="*/ 725156 h 1450763"/>
                <a:gd name="connsiteX47" fmla="*/ 4194621 w 5658193"/>
                <a:gd name="connsiteY47" fmla="*/ 588839 h 1450763"/>
                <a:gd name="connsiteX48" fmla="*/ 3530873 w 5658193"/>
                <a:gd name="connsiteY48" fmla="*/ 47868 h 1450763"/>
                <a:gd name="connsiteX49" fmla="*/ 2853360 w 5658193"/>
                <a:gd name="connsiteY49" fmla="*/ 725381 h 1450763"/>
                <a:gd name="connsiteX50" fmla="*/ 2853383 w 5658193"/>
                <a:gd name="connsiteY50" fmla="*/ 725606 h 1450763"/>
                <a:gd name="connsiteX51" fmla="*/ 2852678 w 5658193"/>
                <a:gd name="connsiteY51" fmla="*/ 725606 h 1450763"/>
                <a:gd name="connsiteX52" fmla="*/ 2837964 w 5658193"/>
                <a:gd name="connsiteY52" fmla="*/ 871572 h 1450763"/>
                <a:gd name="connsiteX53" fmla="*/ 2127320 w 5658193"/>
                <a:gd name="connsiteY53" fmla="*/ 1450763 h 145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5658193" h="1450763">
                  <a:moveTo>
                    <a:pt x="1450750" y="725607"/>
                  </a:moveTo>
                  <a:lnTo>
                    <a:pt x="1449830" y="725607"/>
                  </a:lnTo>
                  <a:lnTo>
                    <a:pt x="1449806" y="725382"/>
                  </a:lnTo>
                  <a:lnTo>
                    <a:pt x="1449830" y="725157"/>
                  </a:lnTo>
                  <a:lnTo>
                    <a:pt x="1402870" y="725157"/>
                  </a:lnTo>
                  <a:lnTo>
                    <a:pt x="1389130" y="588840"/>
                  </a:lnTo>
                  <a:cubicBezTo>
                    <a:pt x="1325954" y="280108"/>
                    <a:pt x="1052790" y="47869"/>
                    <a:pt x="725382" y="47869"/>
                  </a:cubicBezTo>
                  <a:cubicBezTo>
                    <a:pt x="351202" y="47869"/>
                    <a:pt x="47868" y="351202"/>
                    <a:pt x="47868" y="725382"/>
                  </a:cubicBezTo>
                  <a:lnTo>
                    <a:pt x="47890" y="725607"/>
                  </a:lnTo>
                  <a:lnTo>
                    <a:pt x="10" y="725607"/>
                  </a:lnTo>
                  <a:lnTo>
                    <a:pt x="0" y="725382"/>
                  </a:lnTo>
                  <a:cubicBezTo>
                    <a:pt x="0" y="324765"/>
                    <a:pt x="324764" y="1"/>
                    <a:pt x="725382" y="1"/>
                  </a:cubicBezTo>
                  <a:cubicBezTo>
                    <a:pt x="1125998" y="1"/>
                    <a:pt x="1450762" y="324765"/>
                    <a:pt x="1450762" y="725382"/>
                  </a:cubicBezTo>
                  <a:close/>
                  <a:moveTo>
                    <a:pt x="4932812" y="1450762"/>
                  </a:moveTo>
                  <a:cubicBezTo>
                    <a:pt x="4532195" y="1450762"/>
                    <a:pt x="4207431" y="1125998"/>
                    <a:pt x="4207431" y="725381"/>
                  </a:cubicBezTo>
                  <a:lnTo>
                    <a:pt x="4207442" y="725156"/>
                  </a:lnTo>
                  <a:lnTo>
                    <a:pt x="4208363" y="725156"/>
                  </a:lnTo>
                  <a:lnTo>
                    <a:pt x="4208386" y="725381"/>
                  </a:lnTo>
                  <a:lnTo>
                    <a:pt x="4208363" y="725606"/>
                  </a:lnTo>
                  <a:lnTo>
                    <a:pt x="4255322" y="725606"/>
                  </a:lnTo>
                  <a:lnTo>
                    <a:pt x="4269064" y="861924"/>
                  </a:lnTo>
                  <a:cubicBezTo>
                    <a:pt x="4332239" y="1170655"/>
                    <a:pt x="4605404" y="1402894"/>
                    <a:pt x="4932812" y="1402894"/>
                  </a:cubicBezTo>
                  <a:cubicBezTo>
                    <a:pt x="5306992" y="1402894"/>
                    <a:pt x="5610325" y="1099561"/>
                    <a:pt x="5610325" y="725381"/>
                  </a:cubicBezTo>
                  <a:lnTo>
                    <a:pt x="5610302" y="725156"/>
                  </a:lnTo>
                  <a:lnTo>
                    <a:pt x="5658182" y="725156"/>
                  </a:lnTo>
                  <a:lnTo>
                    <a:pt x="5658193" y="725381"/>
                  </a:lnTo>
                  <a:cubicBezTo>
                    <a:pt x="5658193" y="1125998"/>
                    <a:pt x="5333429" y="1450762"/>
                    <a:pt x="4932812" y="1450762"/>
                  </a:cubicBezTo>
                  <a:close/>
                  <a:moveTo>
                    <a:pt x="2127320" y="1450763"/>
                  </a:moveTo>
                  <a:cubicBezTo>
                    <a:pt x="1726703" y="1450763"/>
                    <a:pt x="1401938" y="1125999"/>
                    <a:pt x="1401938" y="725382"/>
                  </a:cubicBezTo>
                  <a:lnTo>
                    <a:pt x="1401950" y="725157"/>
                  </a:lnTo>
                  <a:lnTo>
                    <a:pt x="1402870" y="725157"/>
                  </a:lnTo>
                  <a:lnTo>
                    <a:pt x="1402894" y="725382"/>
                  </a:lnTo>
                  <a:lnTo>
                    <a:pt x="1402870" y="725607"/>
                  </a:lnTo>
                  <a:lnTo>
                    <a:pt x="1449830" y="725607"/>
                  </a:lnTo>
                  <a:lnTo>
                    <a:pt x="1463572" y="861925"/>
                  </a:lnTo>
                  <a:cubicBezTo>
                    <a:pt x="1526746" y="1170656"/>
                    <a:pt x="1799912" y="1402895"/>
                    <a:pt x="2127320" y="1402895"/>
                  </a:cubicBezTo>
                  <a:cubicBezTo>
                    <a:pt x="2501500" y="1402895"/>
                    <a:pt x="2804833" y="1099562"/>
                    <a:pt x="2804833" y="725382"/>
                  </a:cubicBezTo>
                  <a:lnTo>
                    <a:pt x="2804810" y="725157"/>
                  </a:lnTo>
                  <a:lnTo>
                    <a:pt x="2805515" y="725157"/>
                  </a:lnTo>
                  <a:lnTo>
                    <a:pt x="2820229" y="579192"/>
                  </a:lnTo>
                  <a:cubicBezTo>
                    <a:pt x="2887868" y="248648"/>
                    <a:pt x="3180333" y="0"/>
                    <a:pt x="3530873" y="0"/>
                  </a:cubicBezTo>
                  <a:cubicBezTo>
                    <a:pt x="3931490" y="0"/>
                    <a:pt x="4256254" y="324764"/>
                    <a:pt x="4256254" y="725381"/>
                  </a:cubicBezTo>
                  <a:lnTo>
                    <a:pt x="4256243" y="725606"/>
                  </a:lnTo>
                  <a:lnTo>
                    <a:pt x="4255322" y="725606"/>
                  </a:lnTo>
                  <a:lnTo>
                    <a:pt x="4255299" y="725381"/>
                  </a:lnTo>
                  <a:lnTo>
                    <a:pt x="4255322" y="725156"/>
                  </a:lnTo>
                  <a:lnTo>
                    <a:pt x="4208363" y="725156"/>
                  </a:lnTo>
                  <a:lnTo>
                    <a:pt x="4194621" y="588839"/>
                  </a:lnTo>
                  <a:cubicBezTo>
                    <a:pt x="4131446" y="280107"/>
                    <a:pt x="3858281" y="47868"/>
                    <a:pt x="3530873" y="47868"/>
                  </a:cubicBezTo>
                  <a:cubicBezTo>
                    <a:pt x="3156693" y="47868"/>
                    <a:pt x="2853360" y="351201"/>
                    <a:pt x="2853360" y="725381"/>
                  </a:cubicBezTo>
                  <a:lnTo>
                    <a:pt x="2853383" y="725606"/>
                  </a:lnTo>
                  <a:lnTo>
                    <a:pt x="2852678" y="725606"/>
                  </a:lnTo>
                  <a:lnTo>
                    <a:pt x="2837964" y="871572"/>
                  </a:lnTo>
                  <a:cubicBezTo>
                    <a:pt x="2770325" y="1202116"/>
                    <a:pt x="2477860" y="1450763"/>
                    <a:pt x="2127320" y="1450763"/>
                  </a:cubicBezTo>
                  <a:close/>
                </a:path>
              </a:pathLst>
            </a:custGeom>
            <a:gradFill>
              <a:gsLst>
                <a:gs pos="56000">
                  <a:schemeClr val="accent6"/>
                </a:gs>
                <a:gs pos="36000">
                  <a:schemeClr val="accent5"/>
                </a:gs>
                <a:gs pos="15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00" dirty="0">
                <a:solidFill>
                  <a:schemeClr val="bg1"/>
                </a:solidFill>
              </a:endParaRPr>
            </a:p>
          </p:txBody>
        </p:sp>
        <p:sp>
          <p:nvSpPr>
            <p:cNvPr id="8" name="Oval 7" descr="timeline endpoints">
              <a:extLst>
                <a:ext uri="{FF2B5EF4-FFF2-40B4-BE49-F238E27FC236}">
                  <a16:creationId xmlns:a16="http://schemas.microsoft.com/office/drawing/2014/main" id="{A68E7F3D-56B3-6400-38C6-48EA0FC2B65C}"/>
                </a:ext>
              </a:extLst>
            </p:cNvPr>
            <p:cNvSpPr/>
            <p:nvPr userDrawn="1"/>
          </p:nvSpPr>
          <p:spPr>
            <a:xfrm>
              <a:off x="745262" y="1496310"/>
              <a:ext cx="137199" cy="137199"/>
            </a:xfrm>
            <a:prstGeom prst="ellipse">
              <a:avLst/>
            </a:prstGeom>
            <a:solidFill>
              <a:schemeClr val="accent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 descr="timeline endpoints">
              <a:extLst>
                <a:ext uri="{FF2B5EF4-FFF2-40B4-BE49-F238E27FC236}">
                  <a16:creationId xmlns:a16="http://schemas.microsoft.com/office/drawing/2014/main" id="{A3B99CA7-DB66-357F-E082-9C19B50755E6}"/>
                </a:ext>
              </a:extLst>
            </p:cNvPr>
            <p:cNvSpPr/>
            <p:nvPr userDrawn="1"/>
          </p:nvSpPr>
          <p:spPr>
            <a:xfrm>
              <a:off x="745262" y="6031711"/>
              <a:ext cx="137199" cy="137199"/>
            </a:xfrm>
            <a:prstGeom prst="ellipse">
              <a:avLst/>
            </a:pr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7EB441-7AC5-42B7-2BBE-D2AB4CEB7E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008135" y="1777856"/>
            <a:ext cx="1170522" cy="4672600"/>
            <a:chOff x="4335188" y="1496310"/>
            <a:chExt cx="1170522" cy="4672600"/>
          </a:xfrm>
        </p:grpSpPr>
        <p:sp>
          <p:nvSpPr>
            <p:cNvPr id="14" name="Freeform: Shape 13" descr="timeline ">
              <a:extLst>
                <a:ext uri="{FF2B5EF4-FFF2-40B4-BE49-F238E27FC236}">
                  <a16:creationId xmlns:a16="http://schemas.microsoft.com/office/drawing/2014/main" id="{3D5A0C1A-E309-F54E-56B1-C83E716B076E}"/>
                </a:ext>
              </a:extLst>
            </p:cNvPr>
            <p:cNvSpPr/>
            <p:nvPr userDrawn="1"/>
          </p:nvSpPr>
          <p:spPr>
            <a:xfrm rot="16200000" flipV="1">
              <a:off x="2637841" y="3241639"/>
              <a:ext cx="4565215" cy="1170522"/>
            </a:xfrm>
            <a:custGeom>
              <a:avLst/>
              <a:gdLst>
                <a:gd name="connsiteX0" fmla="*/ 1450750 w 5658193"/>
                <a:gd name="connsiteY0" fmla="*/ 725607 h 1450763"/>
                <a:gd name="connsiteX1" fmla="*/ 1449830 w 5658193"/>
                <a:gd name="connsiteY1" fmla="*/ 725607 h 1450763"/>
                <a:gd name="connsiteX2" fmla="*/ 1449806 w 5658193"/>
                <a:gd name="connsiteY2" fmla="*/ 725382 h 1450763"/>
                <a:gd name="connsiteX3" fmla="*/ 1449830 w 5658193"/>
                <a:gd name="connsiteY3" fmla="*/ 725157 h 1450763"/>
                <a:gd name="connsiteX4" fmla="*/ 1402870 w 5658193"/>
                <a:gd name="connsiteY4" fmla="*/ 725157 h 1450763"/>
                <a:gd name="connsiteX5" fmla="*/ 1389130 w 5658193"/>
                <a:gd name="connsiteY5" fmla="*/ 588840 h 1450763"/>
                <a:gd name="connsiteX6" fmla="*/ 725382 w 5658193"/>
                <a:gd name="connsiteY6" fmla="*/ 47869 h 1450763"/>
                <a:gd name="connsiteX7" fmla="*/ 47868 w 5658193"/>
                <a:gd name="connsiteY7" fmla="*/ 725382 h 1450763"/>
                <a:gd name="connsiteX8" fmla="*/ 47890 w 5658193"/>
                <a:gd name="connsiteY8" fmla="*/ 725607 h 1450763"/>
                <a:gd name="connsiteX9" fmla="*/ 10 w 5658193"/>
                <a:gd name="connsiteY9" fmla="*/ 725607 h 1450763"/>
                <a:gd name="connsiteX10" fmla="*/ 0 w 5658193"/>
                <a:gd name="connsiteY10" fmla="*/ 725382 h 1450763"/>
                <a:gd name="connsiteX11" fmla="*/ 725382 w 5658193"/>
                <a:gd name="connsiteY11" fmla="*/ 1 h 1450763"/>
                <a:gd name="connsiteX12" fmla="*/ 1450762 w 5658193"/>
                <a:gd name="connsiteY12" fmla="*/ 725382 h 1450763"/>
                <a:gd name="connsiteX13" fmla="*/ 4932812 w 5658193"/>
                <a:gd name="connsiteY13" fmla="*/ 1450762 h 1450763"/>
                <a:gd name="connsiteX14" fmla="*/ 4207431 w 5658193"/>
                <a:gd name="connsiteY14" fmla="*/ 725381 h 1450763"/>
                <a:gd name="connsiteX15" fmla="*/ 4207442 w 5658193"/>
                <a:gd name="connsiteY15" fmla="*/ 725156 h 1450763"/>
                <a:gd name="connsiteX16" fmla="*/ 4208363 w 5658193"/>
                <a:gd name="connsiteY16" fmla="*/ 725156 h 1450763"/>
                <a:gd name="connsiteX17" fmla="*/ 4208386 w 5658193"/>
                <a:gd name="connsiteY17" fmla="*/ 725381 h 1450763"/>
                <a:gd name="connsiteX18" fmla="*/ 4208363 w 5658193"/>
                <a:gd name="connsiteY18" fmla="*/ 725606 h 1450763"/>
                <a:gd name="connsiteX19" fmla="*/ 4255322 w 5658193"/>
                <a:gd name="connsiteY19" fmla="*/ 725606 h 1450763"/>
                <a:gd name="connsiteX20" fmla="*/ 4269064 w 5658193"/>
                <a:gd name="connsiteY20" fmla="*/ 861924 h 1450763"/>
                <a:gd name="connsiteX21" fmla="*/ 4932812 w 5658193"/>
                <a:gd name="connsiteY21" fmla="*/ 1402894 h 1450763"/>
                <a:gd name="connsiteX22" fmla="*/ 5610325 w 5658193"/>
                <a:gd name="connsiteY22" fmla="*/ 725381 h 1450763"/>
                <a:gd name="connsiteX23" fmla="*/ 5610302 w 5658193"/>
                <a:gd name="connsiteY23" fmla="*/ 725156 h 1450763"/>
                <a:gd name="connsiteX24" fmla="*/ 5658182 w 5658193"/>
                <a:gd name="connsiteY24" fmla="*/ 725156 h 1450763"/>
                <a:gd name="connsiteX25" fmla="*/ 5658193 w 5658193"/>
                <a:gd name="connsiteY25" fmla="*/ 725381 h 1450763"/>
                <a:gd name="connsiteX26" fmla="*/ 4932812 w 5658193"/>
                <a:gd name="connsiteY26" fmla="*/ 1450762 h 1450763"/>
                <a:gd name="connsiteX27" fmla="*/ 2127320 w 5658193"/>
                <a:gd name="connsiteY27" fmla="*/ 1450763 h 1450763"/>
                <a:gd name="connsiteX28" fmla="*/ 1401938 w 5658193"/>
                <a:gd name="connsiteY28" fmla="*/ 725382 h 1450763"/>
                <a:gd name="connsiteX29" fmla="*/ 1401950 w 5658193"/>
                <a:gd name="connsiteY29" fmla="*/ 725157 h 1450763"/>
                <a:gd name="connsiteX30" fmla="*/ 1402870 w 5658193"/>
                <a:gd name="connsiteY30" fmla="*/ 725157 h 1450763"/>
                <a:gd name="connsiteX31" fmla="*/ 1402894 w 5658193"/>
                <a:gd name="connsiteY31" fmla="*/ 725382 h 1450763"/>
                <a:gd name="connsiteX32" fmla="*/ 1402870 w 5658193"/>
                <a:gd name="connsiteY32" fmla="*/ 725607 h 1450763"/>
                <a:gd name="connsiteX33" fmla="*/ 1449830 w 5658193"/>
                <a:gd name="connsiteY33" fmla="*/ 725607 h 1450763"/>
                <a:gd name="connsiteX34" fmla="*/ 1463572 w 5658193"/>
                <a:gd name="connsiteY34" fmla="*/ 861925 h 1450763"/>
                <a:gd name="connsiteX35" fmla="*/ 2127320 w 5658193"/>
                <a:gd name="connsiteY35" fmla="*/ 1402895 h 1450763"/>
                <a:gd name="connsiteX36" fmla="*/ 2804833 w 5658193"/>
                <a:gd name="connsiteY36" fmla="*/ 725382 h 1450763"/>
                <a:gd name="connsiteX37" fmla="*/ 2804810 w 5658193"/>
                <a:gd name="connsiteY37" fmla="*/ 725157 h 1450763"/>
                <a:gd name="connsiteX38" fmla="*/ 2805515 w 5658193"/>
                <a:gd name="connsiteY38" fmla="*/ 725157 h 1450763"/>
                <a:gd name="connsiteX39" fmla="*/ 2820229 w 5658193"/>
                <a:gd name="connsiteY39" fmla="*/ 579192 h 1450763"/>
                <a:gd name="connsiteX40" fmla="*/ 3530873 w 5658193"/>
                <a:gd name="connsiteY40" fmla="*/ 0 h 1450763"/>
                <a:gd name="connsiteX41" fmla="*/ 4256254 w 5658193"/>
                <a:gd name="connsiteY41" fmla="*/ 725381 h 1450763"/>
                <a:gd name="connsiteX42" fmla="*/ 4256243 w 5658193"/>
                <a:gd name="connsiteY42" fmla="*/ 725606 h 1450763"/>
                <a:gd name="connsiteX43" fmla="*/ 4255322 w 5658193"/>
                <a:gd name="connsiteY43" fmla="*/ 725606 h 1450763"/>
                <a:gd name="connsiteX44" fmla="*/ 4255299 w 5658193"/>
                <a:gd name="connsiteY44" fmla="*/ 725381 h 1450763"/>
                <a:gd name="connsiteX45" fmla="*/ 4255322 w 5658193"/>
                <a:gd name="connsiteY45" fmla="*/ 725156 h 1450763"/>
                <a:gd name="connsiteX46" fmla="*/ 4208363 w 5658193"/>
                <a:gd name="connsiteY46" fmla="*/ 725156 h 1450763"/>
                <a:gd name="connsiteX47" fmla="*/ 4194621 w 5658193"/>
                <a:gd name="connsiteY47" fmla="*/ 588839 h 1450763"/>
                <a:gd name="connsiteX48" fmla="*/ 3530873 w 5658193"/>
                <a:gd name="connsiteY48" fmla="*/ 47868 h 1450763"/>
                <a:gd name="connsiteX49" fmla="*/ 2853360 w 5658193"/>
                <a:gd name="connsiteY49" fmla="*/ 725381 h 1450763"/>
                <a:gd name="connsiteX50" fmla="*/ 2853383 w 5658193"/>
                <a:gd name="connsiteY50" fmla="*/ 725606 h 1450763"/>
                <a:gd name="connsiteX51" fmla="*/ 2852678 w 5658193"/>
                <a:gd name="connsiteY51" fmla="*/ 725606 h 1450763"/>
                <a:gd name="connsiteX52" fmla="*/ 2837964 w 5658193"/>
                <a:gd name="connsiteY52" fmla="*/ 871572 h 1450763"/>
                <a:gd name="connsiteX53" fmla="*/ 2127320 w 5658193"/>
                <a:gd name="connsiteY53" fmla="*/ 1450763 h 145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5658193" h="1450763">
                  <a:moveTo>
                    <a:pt x="1450750" y="725607"/>
                  </a:moveTo>
                  <a:lnTo>
                    <a:pt x="1449830" y="725607"/>
                  </a:lnTo>
                  <a:lnTo>
                    <a:pt x="1449806" y="725382"/>
                  </a:lnTo>
                  <a:lnTo>
                    <a:pt x="1449830" y="725157"/>
                  </a:lnTo>
                  <a:lnTo>
                    <a:pt x="1402870" y="725157"/>
                  </a:lnTo>
                  <a:lnTo>
                    <a:pt x="1389130" y="588840"/>
                  </a:lnTo>
                  <a:cubicBezTo>
                    <a:pt x="1325954" y="280108"/>
                    <a:pt x="1052790" y="47869"/>
                    <a:pt x="725382" y="47869"/>
                  </a:cubicBezTo>
                  <a:cubicBezTo>
                    <a:pt x="351202" y="47869"/>
                    <a:pt x="47868" y="351202"/>
                    <a:pt x="47868" y="725382"/>
                  </a:cubicBezTo>
                  <a:lnTo>
                    <a:pt x="47890" y="725607"/>
                  </a:lnTo>
                  <a:lnTo>
                    <a:pt x="10" y="725607"/>
                  </a:lnTo>
                  <a:lnTo>
                    <a:pt x="0" y="725382"/>
                  </a:lnTo>
                  <a:cubicBezTo>
                    <a:pt x="0" y="324765"/>
                    <a:pt x="324764" y="1"/>
                    <a:pt x="725382" y="1"/>
                  </a:cubicBezTo>
                  <a:cubicBezTo>
                    <a:pt x="1125998" y="1"/>
                    <a:pt x="1450762" y="324765"/>
                    <a:pt x="1450762" y="725382"/>
                  </a:cubicBezTo>
                  <a:close/>
                  <a:moveTo>
                    <a:pt x="4932812" y="1450762"/>
                  </a:moveTo>
                  <a:cubicBezTo>
                    <a:pt x="4532195" y="1450762"/>
                    <a:pt x="4207431" y="1125998"/>
                    <a:pt x="4207431" y="725381"/>
                  </a:cubicBezTo>
                  <a:lnTo>
                    <a:pt x="4207442" y="725156"/>
                  </a:lnTo>
                  <a:lnTo>
                    <a:pt x="4208363" y="725156"/>
                  </a:lnTo>
                  <a:lnTo>
                    <a:pt x="4208386" y="725381"/>
                  </a:lnTo>
                  <a:lnTo>
                    <a:pt x="4208363" y="725606"/>
                  </a:lnTo>
                  <a:lnTo>
                    <a:pt x="4255322" y="725606"/>
                  </a:lnTo>
                  <a:lnTo>
                    <a:pt x="4269064" y="861924"/>
                  </a:lnTo>
                  <a:cubicBezTo>
                    <a:pt x="4332239" y="1170655"/>
                    <a:pt x="4605404" y="1402894"/>
                    <a:pt x="4932812" y="1402894"/>
                  </a:cubicBezTo>
                  <a:cubicBezTo>
                    <a:pt x="5306992" y="1402894"/>
                    <a:pt x="5610325" y="1099561"/>
                    <a:pt x="5610325" y="725381"/>
                  </a:cubicBezTo>
                  <a:lnTo>
                    <a:pt x="5610302" y="725156"/>
                  </a:lnTo>
                  <a:lnTo>
                    <a:pt x="5658182" y="725156"/>
                  </a:lnTo>
                  <a:lnTo>
                    <a:pt x="5658193" y="725381"/>
                  </a:lnTo>
                  <a:cubicBezTo>
                    <a:pt x="5658193" y="1125998"/>
                    <a:pt x="5333429" y="1450762"/>
                    <a:pt x="4932812" y="1450762"/>
                  </a:cubicBezTo>
                  <a:close/>
                  <a:moveTo>
                    <a:pt x="2127320" y="1450763"/>
                  </a:moveTo>
                  <a:cubicBezTo>
                    <a:pt x="1726703" y="1450763"/>
                    <a:pt x="1401938" y="1125999"/>
                    <a:pt x="1401938" y="725382"/>
                  </a:cubicBezTo>
                  <a:lnTo>
                    <a:pt x="1401950" y="725157"/>
                  </a:lnTo>
                  <a:lnTo>
                    <a:pt x="1402870" y="725157"/>
                  </a:lnTo>
                  <a:lnTo>
                    <a:pt x="1402894" y="725382"/>
                  </a:lnTo>
                  <a:lnTo>
                    <a:pt x="1402870" y="725607"/>
                  </a:lnTo>
                  <a:lnTo>
                    <a:pt x="1449830" y="725607"/>
                  </a:lnTo>
                  <a:lnTo>
                    <a:pt x="1463572" y="861925"/>
                  </a:lnTo>
                  <a:cubicBezTo>
                    <a:pt x="1526746" y="1170656"/>
                    <a:pt x="1799912" y="1402895"/>
                    <a:pt x="2127320" y="1402895"/>
                  </a:cubicBezTo>
                  <a:cubicBezTo>
                    <a:pt x="2501500" y="1402895"/>
                    <a:pt x="2804833" y="1099562"/>
                    <a:pt x="2804833" y="725382"/>
                  </a:cubicBezTo>
                  <a:lnTo>
                    <a:pt x="2804810" y="725157"/>
                  </a:lnTo>
                  <a:lnTo>
                    <a:pt x="2805515" y="725157"/>
                  </a:lnTo>
                  <a:lnTo>
                    <a:pt x="2820229" y="579192"/>
                  </a:lnTo>
                  <a:cubicBezTo>
                    <a:pt x="2887868" y="248648"/>
                    <a:pt x="3180333" y="0"/>
                    <a:pt x="3530873" y="0"/>
                  </a:cubicBezTo>
                  <a:cubicBezTo>
                    <a:pt x="3931490" y="0"/>
                    <a:pt x="4256254" y="324764"/>
                    <a:pt x="4256254" y="725381"/>
                  </a:cubicBezTo>
                  <a:lnTo>
                    <a:pt x="4256243" y="725606"/>
                  </a:lnTo>
                  <a:lnTo>
                    <a:pt x="4255322" y="725606"/>
                  </a:lnTo>
                  <a:lnTo>
                    <a:pt x="4255299" y="725381"/>
                  </a:lnTo>
                  <a:lnTo>
                    <a:pt x="4255322" y="725156"/>
                  </a:lnTo>
                  <a:lnTo>
                    <a:pt x="4208363" y="725156"/>
                  </a:lnTo>
                  <a:lnTo>
                    <a:pt x="4194621" y="588839"/>
                  </a:lnTo>
                  <a:cubicBezTo>
                    <a:pt x="4131446" y="280107"/>
                    <a:pt x="3858281" y="47868"/>
                    <a:pt x="3530873" y="47868"/>
                  </a:cubicBezTo>
                  <a:cubicBezTo>
                    <a:pt x="3156693" y="47868"/>
                    <a:pt x="2853360" y="351201"/>
                    <a:pt x="2853360" y="725381"/>
                  </a:cubicBezTo>
                  <a:lnTo>
                    <a:pt x="2853383" y="725606"/>
                  </a:lnTo>
                  <a:lnTo>
                    <a:pt x="2852678" y="725606"/>
                  </a:lnTo>
                  <a:lnTo>
                    <a:pt x="2837964" y="871572"/>
                  </a:lnTo>
                  <a:cubicBezTo>
                    <a:pt x="2770325" y="1202116"/>
                    <a:pt x="2477860" y="1450763"/>
                    <a:pt x="2127320" y="1450763"/>
                  </a:cubicBezTo>
                  <a:close/>
                </a:path>
              </a:pathLst>
            </a:custGeom>
            <a:gradFill>
              <a:gsLst>
                <a:gs pos="56000">
                  <a:schemeClr val="accent6"/>
                </a:gs>
                <a:gs pos="36000">
                  <a:schemeClr val="accent5"/>
                </a:gs>
                <a:gs pos="15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00" dirty="0">
                <a:solidFill>
                  <a:schemeClr val="bg1"/>
                </a:solidFill>
              </a:endParaRPr>
            </a:p>
          </p:txBody>
        </p:sp>
        <p:sp>
          <p:nvSpPr>
            <p:cNvPr id="15" name="Oval 14" descr="timeline endpoints">
              <a:extLst>
                <a:ext uri="{FF2B5EF4-FFF2-40B4-BE49-F238E27FC236}">
                  <a16:creationId xmlns:a16="http://schemas.microsoft.com/office/drawing/2014/main" id="{C320BD29-7F24-E436-41ED-2FB6B09FFA7D}"/>
                </a:ext>
              </a:extLst>
            </p:cNvPr>
            <p:cNvSpPr/>
            <p:nvPr userDrawn="1"/>
          </p:nvSpPr>
          <p:spPr>
            <a:xfrm>
              <a:off x="4839742" y="1496310"/>
              <a:ext cx="137199" cy="137199"/>
            </a:xfrm>
            <a:prstGeom prst="ellipse">
              <a:avLst/>
            </a:prstGeom>
            <a:solidFill>
              <a:schemeClr val="accent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15" descr="timeline endpoints">
              <a:extLst>
                <a:ext uri="{FF2B5EF4-FFF2-40B4-BE49-F238E27FC236}">
                  <a16:creationId xmlns:a16="http://schemas.microsoft.com/office/drawing/2014/main" id="{25CD3A00-642F-F865-8DF5-9FCA90EBD24F}"/>
                </a:ext>
              </a:extLst>
            </p:cNvPr>
            <p:cNvSpPr/>
            <p:nvPr userDrawn="1"/>
          </p:nvSpPr>
          <p:spPr>
            <a:xfrm>
              <a:off x="4839742" y="6031711"/>
              <a:ext cx="137199" cy="137199"/>
            </a:xfrm>
            <a:prstGeom prst="ellipse">
              <a:avLst/>
            </a:pr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EC1A445-4A1E-0E9A-C43A-7286C5F440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7672465" y="1777856"/>
            <a:ext cx="1170522" cy="3537220"/>
            <a:chOff x="8358548" y="1496310"/>
            <a:chExt cx="1170522" cy="3537220"/>
          </a:xfrm>
        </p:grpSpPr>
        <p:sp>
          <p:nvSpPr>
            <p:cNvPr id="21" name="Freeform: Shape 20" descr="timeline ">
              <a:extLst>
                <a:ext uri="{FF2B5EF4-FFF2-40B4-BE49-F238E27FC236}">
                  <a16:creationId xmlns:a16="http://schemas.microsoft.com/office/drawing/2014/main" id="{4952EE22-E795-2FC7-052C-2BD82A656C94}"/>
                </a:ext>
              </a:extLst>
            </p:cNvPr>
            <p:cNvSpPr/>
            <p:nvPr userDrawn="1"/>
          </p:nvSpPr>
          <p:spPr>
            <a:xfrm rot="16200000" flipV="1">
              <a:off x="7226766" y="2676073"/>
              <a:ext cx="3434085" cy="1170522"/>
            </a:xfrm>
            <a:custGeom>
              <a:avLst/>
              <a:gdLst>
                <a:gd name="connsiteX0" fmla="*/ 1450750 w 5658193"/>
                <a:gd name="connsiteY0" fmla="*/ 725607 h 1450763"/>
                <a:gd name="connsiteX1" fmla="*/ 1449830 w 5658193"/>
                <a:gd name="connsiteY1" fmla="*/ 725607 h 1450763"/>
                <a:gd name="connsiteX2" fmla="*/ 1449806 w 5658193"/>
                <a:gd name="connsiteY2" fmla="*/ 725382 h 1450763"/>
                <a:gd name="connsiteX3" fmla="*/ 1449830 w 5658193"/>
                <a:gd name="connsiteY3" fmla="*/ 725157 h 1450763"/>
                <a:gd name="connsiteX4" fmla="*/ 1402870 w 5658193"/>
                <a:gd name="connsiteY4" fmla="*/ 725157 h 1450763"/>
                <a:gd name="connsiteX5" fmla="*/ 1389130 w 5658193"/>
                <a:gd name="connsiteY5" fmla="*/ 588840 h 1450763"/>
                <a:gd name="connsiteX6" fmla="*/ 725382 w 5658193"/>
                <a:gd name="connsiteY6" fmla="*/ 47869 h 1450763"/>
                <a:gd name="connsiteX7" fmla="*/ 47868 w 5658193"/>
                <a:gd name="connsiteY7" fmla="*/ 725382 h 1450763"/>
                <a:gd name="connsiteX8" fmla="*/ 47890 w 5658193"/>
                <a:gd name="connsiteY8" fmla="*/ 725607 h 1450763"/>
                <a:gd name="connsiteX9" fmla="*/ 10 w 5658193"/>
                <a:gd name="connsiteY9" fmla="*/ 725607 h 1450763"/>
                <a:gd name="connsiteX10" fmla="*/ 0 w 5658193"/>
                <a:gd name="connsiteY10" fmla="*/ 725382 h 1450763"/>
                <a:gd name="connsiteX11" fmla="*/ 725382 w 5658193"/>
                <a:gd name="connsiteY11" fmla="*/ 1 h 1450763"/>
                <a:gd name="connsiteX12" fmla="*/ 1450762 w 5658193"/>
                <a:gd name="connsiteY12" fmla="*/ 725382 h 1450763"/>
                <a:gd name="connsiteX13" fmla="*/ 4932812 w 5658193"/>
                <a:gd name="connsiteY13" fmla="*/ 1450762 h 1450763"/>
                <a:gd name="connsiteX14" fmla="*/ 4207431 w 5658193"/>
                <a:gd name="connsiteY14" fmla="*/ 725381 h 1450763"/>
                <a:gd name="connsiteX15" fmla="*/ 4207442 w 5658193"/>
                <a:gd name="connsiteY15" fmla="*/ 725156 h 1450763"/>
                <a:gd name="connsiteX16" fmla="*/ 4208363 w 5658193"/>
                <a:gd name="connsiteY16" fmla="*/ 725156 h 1450763"/>
                <a:gd name="connsiteX17" fmla="*/ 4208386 w 5658193"/>
                <a:gd name="connsiteY17" fmla="*/ 725381 h 1450763"/>
                <a:gd name="connsiteX18" fmla="*/ 4208363 w 5658193"/>
                <a:gd name="connsiteY18" fmla="*/ 725606 h 1450763"/>
                <a:gd name="connsiteX19" fmla="*/ 4255322 w 5658193"/>
                <a:gd name="connsiteY19" fmla="*/ 725606 h 1450763"/>
                <a:gd name="connsiteX20" fmla="*/ 4269064 w 5658193"/>
                <a:gd name="connsiteY20" fmla="*/ 861924 h 1450763"/>
                <a:gd name="connsiteX21" fmla="*/ 4932812 w 5658193"/>
                <a:gd name="connsiteY21" fmla="*/ 1402894 h 1450763"/>
                <a:gd name="connsiteX22" fmla="*/ 5610325 w 5658193"/>
                <a:gd name="connsiteY22" fmla="*/ 725381 h 1450763"/>
                <a:gd name="connsiteX23" fmla="*/ 5610302 w 5658193"/>
                <a:gd name="connsiteY23" fmla="*/ 725156 h 1450763"/>
                <a:gd name="connsiteX24" fmla="*/ 5658182 w 5658193"/>
                <a:gd name="connsiteY24" fmla="*/ 725156 h 1450763"/>
                <a:gd name="connsiteX25" fmla="*/ 5658193 w 5658193"/>
                <a:gd name="connsiteY25" fmla="*/ 725381 h 1450763"/>
                <a:gd name="connsiteX26" fmla="*/ 4932812 w 5658193"/>
                <a:gd name="connsiteY26" fmla="*/ 1450762 h 1450763"/>
                <a:gd name="connsiteX27" fmla="*/ 2127320 w 5658193"/>
                <a:gd name="connsiteY27" fmla="*/ 1450763 h 1450763"/>
                <a:gd name="connsiteX28" fmla="*/ 1401938 w 5658193"/>
                <a:gd name="connsiteY28" fmla="*/ 725382 h 1450763"/>
                <a:gd name="connsiteX29" fmla="*/ 1401950 w 5658193"/>
                <a:gd name="connsiteY29" fmla="*/ 725157 h 1450763"/>
                <a:gd name="connsiteX30" fmla="*/ 1402870 w 5658193"/>
                <a:gd name="connsiteY30" fmla="*/ 725157 h 1450763"/>
                <a:gd name="connsiteX31" fmla="*/ 1402894 w 5658193"/>
                <a:gd name="connsiteY31" fmla="*/ 725382 h 1450763"/>
                <a:gd name="connsiteX32" fmla="*/ 1402870 w 5658193"/>
                <a:gd name="connsiteY32" fmla="*/ 725607 h 1450763"/>
                <a:gd name="connsiteX33" fmla="*/ 1449830 w 5658193"/>
                <a:gd name="connsiteY33" fmla="*/ 725607 h 1450763"/>
                <a:gd name="connsiteX34" fmla="*/ 1463572 w 5658193"/>
                <a:gd name="connsiteY34" fmla="*/ 861925 h 1450763"/>
                <a:gd name="connsiteX35" fmla="*/ 2127320 w 5658193"/>
                <a:gd name="connsiteY35" fmla="*/ 1402895 h 1450763"/>
                <a:gd name="connsiteX36" fmla="*/ 2804833 w 5658193"/>
                <a:gd name="connsiteY36" fmla="*/ 725382 h 1450763"/>
                <a:gd name="connsiteX37" fmla="*/ 2804810 w 5658193"/>
                <a:gd name="connsiteY37" fmla="*/ 725157 h 1450763"/>
                <a:gd name="connsiteX38" fmla="*/ 2805515 w 5658193"/>
                <a:gd name="connsiteY38" fmla="*/ 725157 h 1450763"/>
                <a:gd name="connsiteX39" fmla="*/ 2820229 w 5658193"/>
                <a:gd name="connsiteY39" fmla="*/ 579192 h 1450763"/>
                <a:gd name="connsiteX40" fmla="*/ 3530873 w 5658193"/>
                <a:gd name="connsiteY40" fmla="*/ 0 h 1450763"/>
                <a:gd name="connsiteX41" fmla="*/ 4256254 w 5658193"/>
                <a:gd name="connsiteY41" fmla="*/ 725381 h 1450763"/>
                <a:gd name="connsiteX42" fmla="*/ 4256243 w 5658193"/>
                <a:gd name="connsiteY42" fmla="*/ 725606 h 1450763"/>
                <a:gd name="connsiteX43" fmla="*/ 4255322 w 5658193"/>
                <a:gd name="connsiteY43" fmla="*/ 725606 h 1450763"/>
                <a:gd name="connsiteX44" fmla="*/ 4255299 w 5658193"/>
                <a:gd name="connsiteY44" fmla="*/ 725381 h 1450763"/>
                <a:gd name="connsiteX45" fmla="*/ 4255322 w 5658193"/>
                <a:gd name="connsiteY45" fmla="*/ 725156 h 1450763"/>
                <a:gd name="connsiteX46" fmla="*/ 4208363 w 5658193"/>
                <a:gd name="connsiteY46" fmla="*/ 725156 h 1450763"/>
                <a:gd name="connsiteX47" fmla="*/ 4194621 w 5658193"/>
                <a:gd name="connsiteY47" fmla="*/ 588839 h 1450763"/>
                <a:gd name="connsiteX48" fmla="*/ 3530873 w 5658193"/>
                <a:gd name="connsiteY48" fmla="*/ 47868 h 1450763"/>
                <a:gd name="connsiteX49" fmla="*/ 2853360 w 5658193"/>
                <a:gd name="connsiteY49" fmla="*/ 725381 h 1450763"/>
                <a:gd name="connsiteX50" fmla="*/ 2853383 w 5658193"/>
                <a:gd name="connsiteY50" fmla="*/ 725606 h 1450763"/>
                <a:gd name="connsiteX51" fmla="*/ 2852678 w 5658193"/>
                <a:gd name="connsiteY51" fmla="*/ 725606 h 1450763"/>
                <a:gd name="connsiteX52" fmla="*/ 2837964 w 5658193"/>
                <a:gd name="connsiteY52" fmla="*/ 871572 h 1450763"/>
                <a:gd name="connsiteX53" fmla="*/ 2127320 w 5658193"/>
                <a:gd name="connsiteY53" fmla="*/ 1450763 h 1450763"/>
                <a:gd name="connsiteX0" fmla="*/ 1450740 w 5658183"/>
                <a:gd name="connsiteY0" fmla="*/ 725607 h 1450763"/>
                <a:gd name="connsiteX1" fmla="*/ 1449820 w 5658183"/>
                <a:gd name="connsiteY1" fmla="*/ 725607 h 1450763"/>
                <a:gd name="connsiteX2" fmla="*/ 1449796 w 5658183"/>
                <a:gd name="connsiteY2" fmla="*/ 725382 h 1450763"/>
                <a:gd name="connsiteX3" fmla="*/ 1449820 w 5658183"/>
                <a:gd name="connsiteY3" fmla="*/ 725157 h 1450763"/>
                <a:gd name="connsiteX4" fmla="*/ 1402860 w 5658183"/>
                <a:gd name="connsiteY4" fmla="*/ 725157 h 1450763"/>
                <a:gd name="connsiteX5" fmla="*/ 1389120 w 5658183"/>
                <a:gd name="connsiteY5" fmla="*/ 588840 h 1450763"/>
                <a:gd name="connsiteX6" fmla="*/ 725372 w 5658183"/>
                <a:gd name="connsiteY6" fmla="*/ 47869 h 1450763"/>
                <a:gd name="connsiteX7" fmla="*/ 47858 w 5658183"/>
                <a:gd name="connsiteY7" fmla="*/ 725382 h 1450763"/>
                <a:gd name="connsiteX8" fmla="*/ 47880 w 5658183"/>
                <a:gd name="connsiteY8" fmla="*/ 725607 h 1450763"/>
                <a:gd name="connsiteX9" fmla="*/ 0 w 5658183"/>
                <a:gd name="connsiteY9" fmla="*/ 725607 h 1450763"/>
                <a:gd name="connsiteX10" fmla="*/ 725372 w 5658183"/>
                <a:gd name="connsiteY10" fmla="*/ 1 h 1450763"/>
                <a:gd name="connsiteX11" fmla="*/ 1450752 w 5658183"/>
                <a:gd name="connsiteY11" fmla="*/ 725382 h 1450763"/>
                <a:gd name="connsiteX12" fmla="*/ 1450740 w 5658183"/>
                <a:gd name="connsiteY12" fmla="*/ 725607 h 1450763"/>
                <a:gd name="connsiteX13" fmla="*/ 4932802 w 5658183"/>
                <a:gd name="connsiteY13" fmla="*/ 1450762 h 1450763"/>
                <a:gd name="connsiteX14" fmla="*/ 4207421 w 5658183"/>
                <a:gd name="connsiteY14" fmla="*/ 725381 h 1450763"/>
                <a:gd name="connsiteX15" fmla="*/ 4207432 w 5658183"/>
                <a:gd name="connsiteY15" fmla="*/ 725156 h 1450763"/>
                <a:gd name="connsiteX16" fmla="*/ 4208353 w 5658183"/>
                <a:gd name="connsiteY16" fmla="*/ 725156 h 1450763"/>
                <a:gd name="connsiteX17" fmla="*/ 4208376 w 5658183"/>
                <a:gd name="connsiteY17" fmla="*/ 725381 h 1450763"/>
                <a:gd name="connsiteX18" fmla="*/ 4208353 w 5658183"/>
                <a:gd name="connsiteY18" fmla="*/ 725606 h 1450763"/>
                <a:gd name="connsiteX19" fmla="*/ 4255312 w 5658183"/>
                <a:gd name="connsiteY19" fmla="*/ 725606 h 1450763"/>
                <a:gd name="connsiteX20" fmla="*/ 4269054 w 5658183"/>
                <a:gd name="connsiteY20" fmla="*/ 861924 h 1450763"/>
                <a:gd name="connsiteX21" fmla="*/ 4932802 w 5658183"/>
                <a:gd name="connsiteY21" fmla="*/ 1402894 h 1450763"/>
                <a:gd name="connsiteX22" fmla="*/ 5610315 w 5658183"/>
                <a:gd name="connsiteY22" fmla="*/ 725381 h 1450763"/>
                <a:gd name="connsiteX23" fmla="*/ 5610292 w 5658183"/>
                <a:gd name="connsiteY23" fmla="*/ 725156 h 1450763"/>
                <a:gd name="connsiteX24" fmla="*/ 5658172 w 5658183"/>
                <a:gd name="connsiteY24" fmla="*/ 725156 h 1450763"/>
                <a:gd name="connsiteX25" fmla="*/ 5658183 w 5658183"/>
                <a:gd name="connsiteY25" fmla="*/ 725381 h 1450763"/>
                <a:gd name="connsiteX26" fmla="*/ 4932802 w 5658183"/>
                <a:gd name="connsiteY26" fmla="*/ 1450762 h 1450763"/>
                <a:gd name="connsiteX27" fmla="*/ 2127310 w 5658183"/>
                <a:gd name="connsiteY27" fmla="*/ 1450763 h 1450763"/>
                <a:gd name="connsiteX28" fmla="*/ 1401928 w 5658183"/>
                <a:gd name="connsiteY28" fmla="*/ 725382 h 1450763"/>
                <a:gd name="connsiteX29" fmla="*/ 1401940 w 5658183"/>
                <a:gd name="connsiteY29" fmla="*/ 725157 h 1450763"/>
                <a:gd name="connsiteX30" fmla="*/ 1402860 w 5658183"/>
                <a:gd name="connsiteY30" fmla="*/ 725157 h 1450763"/>
                <a:gd name="connsiteX31" fmla="*/ 1402884 w 5658183"/>
                <a:gd name="connsiteY31" fmla="*/ 725382 h 1450763"/>
                <a:gd name="connsiteX32" fmla="*/ 1402860 w 5658183"/>
                <a:gd name="connsiteY32" fmla="*/ 725607 h 1450763"/>
                <a:gd name="connsiteX33" fmla="*/ 1449820 w 5658183"/>
                <a:gd name="connsiteY33" fmla="*/ 725607 h 1450763"/>
                <a:gd name="connsiteX34" fmla="*/ 1463562 w 5658183"/>
                <a:gd name="connsiteY34" fmla="*/ 861925 h 1450763"/>
                <a:gd name="connsiteX35" fmla="*/ 2127310 w 5658183"/>
                <a:gd name="connsiteY35" fmla="*/ 1402895 h 1450763"/>
                <a:gd name="connsiteX36" fmla="*/ 2804823 w 5658183"/>
                <a:gd name="connsiteY36" fmla="*/ 725382 h 1450763"/>
                <a:gd name="connsiteX37" fmla="*/ 2804800 w 5658183"/>
                <a:gd name="connsiteY37" fmla="*/ 725157 h 1450763"/>
                <a:gd name="connsiteX38" fmla="*/ 2805505 w 5658183"/>
                <a:gd name="connsiteY38" fmla="*/ 725157 h 1450763"/>
                <a:gd name="connsiteX39" fmla="*/ 2820219 w 5658183"/>
                <a:gd name="connsiteY39" fmla="*/ 579192 h 1450763"/>
                <a:gd name="connsiteX40" fmla="*/ 3530863 w 5658183"/>
                <a:gd name="connsiteY40" fmla="*/ 0 h 1450763"/>
                <a:gd name="connsiteX41" fmla="*/ 4256244 w 5658183"/>
                <a:gd name="connsiteY41" fmla="*/ 725381 h 1450763"/>
                <a:gd name="connsiteX42" fmla="*/ 4256233 w 5658183"/>
                <a:gd name="connsiteY42" fmla="*/ 725606 h 1450763"/>
                <a:gd name="connsiteX43" fmla="*/ 4255312 w 5658183"/>
                <a:gd name="connsiteY43" fmla="*/ 725606 h 1450763"/>
                <a:gd name="connsiteX44" fmla="*/ 4255289 w 5658183"/>
                <a:gd name="connsiteY44" fmla="*/ 725381 h 1450763"/>
                <a:gd name="connsiteX45" fmla="*/ 4255312 w 5658183"/>
                <a:gd name="connsiteY45" fmla="*/ 725156 h 1450763"/>
                <a:gd name="connsiteX46" fmla="*/ 4208353 w 5658183"/>
                <a:gd name="connsiteY46" fmla="*/ 725156 h 1450763"/>
                <a:gd name="connsiteX47" fmla="*/ 4194611 w 5658183"/>
                <a:gd name="connsiteY47" fmla="*/ 588839 h 1450763"/>
                <a:gd name="connsiteX48" fmla="*/ 3530863 w 5658183"/>
                <a:gd name="connsiteY48" fmla="*/ 47868 h 1450763"/>
                <a:gd name="connsiteX49" fmla="*/ 2853350 w 5658183"/>
                <a:gd name="connsiteY49" fmla="*/ 725381 h 1450763"/>
                <a:gd name="connsiteX50" fmla="*/ 2853373 w 5658183"/>
                <a:gd name="connsiteY50" fmla="*/ 725606 h 1450763"/>
                <a:gd name="connsiteX51" fmla="*/ 2852668 w 5658183"/>
                <a:gd name="connsiteY51" fmla="*/ 725606 h 1450763"/>
                <a:gd name="connsiteX52" fmla="*/ 2837954 w 5658183"/>
                <a:gd name="connsiteY52" fmla="*/ 871572 h 1450763"/>
                <a:gd name="connsiteX53" fmla="*/ 2127310 w 5658183"/>
                <a:gd name="connsiteY53" fmla="*/ 1450763 h 1450763"/>
                <a:gd name="connsiteX0" fmla="*/ 1402882 w 5610325"/>
                <a:gd name="connsiteY0" fmla="*/ 725607 h 1450763"/>
                <a:gd name="connsiteX1" fmla="*/ 1401962 w 5610325"/>
                <a:gd name="connsiteY1" fmla="*/ 725607 h 1450763"/>
                <a:gd name="connsiteX2" fmla="*/ 1401938 w 5610325"/>
                <a:gd name="connsiteY2" fmla="*/ 725382 h 1450763"/>
                <a:gd name="connsiteX3" fmla="*/ 1401962 w 5610325"/>
                <a:gd name="connsiteY3" fmla="*/ 725157 h 1450763"/>
                <a:gd name="connsiteX4" fmla="*/ 1355002 w 5610325"/>
                <a:gd name="connsiteY4" fmla="*/ 725157 h 1450763"/>
                <a:gd name="connsiteX5" fmla="*/ 1341262 w 5610325"/>
                <a:gd name="connsiteY5" fmla="*/ 588840 h 1450763"/>
                <a:gd name="connsiteX6" fmla="*/ 677514 w 5610325"/>
                <a:gd name="connsiteY6" fmla="*/ 47869 h 1450763"/>
                <a:gd name="connsiteX7" fmla="*/ 0 w 5610325"/>
                <a:gd name="connsiteY7" fmla="*/ 725382 h 1450763"/>
                <a:gd name="connsiteX8" fmla="*/ 22 w 5610325"/>
                <a:gd name="connsiteY8" fmla="*/ 725607 h 1450763"/>
                <a:gd name="connsiteX9" fmla="*/ 677514 w 5610325"/>
                <a:gd name="connsiteY9" fmla="*/ 1 h 1450763"/>
                <a:gd name="connsiteX10" fmla="*/ 1402894 w 5610325"/>
                <a:gd name="connsiteY10" fmla="*/ 725382 h 1450763"/>
                <a:gd name="connsiteX11" fmla="*/ 1402882 w 5610325"/>
                <a:gd name="connsiteY11" fmla="*/ 725607 h 1450763"/>
                <a:gd name="connsiteX12" fmla="*/ 4884944 w 5610325"/>
                <a:gd name="connsiteY12" fmla="*/ 1450762 h 1450763"/>
                <a:gd name="connsiteX13" fmla="*/ 4159563 w 5610325"/>
                <a:gd name="connsiteY13" fmla="*/ 725381 h 1450763"/>
                <a:gd name="connsiteX14" fmla="*/ 4159574 w 5610325"/>
                <a:gd name="connsiteY14" fmla="*/ 725156 h 1450763"/>
                <a:gd name="connsiteX15" fmla="*/ 4160495 w 5610325"/>
                <a:gd name="connsiteY15" fmla="*/ 725156 h 1450763"/>
                <a:gd name="connsiteX16" fmla="*/ 4160518 w 5610325"/>
                <a:gd name="connsiteY16" fmla="*/ 725381 h 1450763"/>
                <a:gd name="connsiteX17" fmla="*/ 4160495 w 5610325"/>
                <a:gd name="connsiteY17" fmla="*/ 725606 h 1450763"/>
                <a:gd name="connsiteX18" fmla="*/ 4207454 w 5610325"/>
                <a:gd name="connsiteY18" fmla="*/ 725606 h 1450763"/>
                <a:gd name="connsiteX19" fmla="*/ 4221196 w 5610325"/>
                <a:gd name="connsiteY19" fmla="*/ 861924 h 1450763"/>
                <a:gd name="connsiteX20" fmla="*/ 4884944 w 5610325"/>
                <a:gd name="connsiteY20" fmla="*/ 1402894 h 1450763"/>
                <a:gd name="connsiteX21" fmla="*/ 5562457 w 5610325"/>
                <a:gd name="connsiteY21" fmla="*/ 725381 h 1450763"/>
                <a:gd name="connsiteX22" fmla="*/ 5562434 w 5610325"/>
                <a:gd name="connsiteY22" fmla="*/ 725156 h 1450763"/>
                <a:gd name="connsiteX23" fmla="*/ 5610314 w 5610325"/>
                <a:gd name="connsiteY23" fmla="*/ 725156 h 1450763"/>
                <a:gd name="connsiteX24" fmla="*/ 5610325 w 5610325"/>
                <a:gd name="connsiteY24" fmla="*/ 725381 h 1450763"/>
                <a:gd name="connsiteX25" fmla="*/ 4884944 w 5610325"/>
                <a:gd name="connsiteY25" fmla="*/ 1450762 h 1450763"/>
                <a:gd name="connsiteX26" fmla="*/ 2079452 w 5610325"/>
                <a:gd name="connsiteY26" fmla="*/ 1450763 h 1450763"/>
                <a:gd name="connsiteX27" fmla="*/ 1354070 w 5610325"/>
                <a:gd name="connsiteY27" fmla="*/ 725382 h 1450763"/>
                <a:gd name="connsiteX28" fmla="*/ 1354082 w 5610325"/>
                <a:gd name="connsiteY28" fmla="*/ 725157 h 1450763"/>
                <a:gd name="connsiteX29" fmla="*/ 1355002 w 5610325"/>
                <a:gd name="connsiteY29" fmla="*/ 725157 h 1450763"/>
                <a:gd name="connsiteX30" fmla="*/ 1355026 w 5610325"/>
                <a:gd name="connsiteY30" fmla="*/ 725382 h 1450763"/>
                <a:gd name="connsiteX31" fmla="*/ 1355002 w 5610325"/>
                <a:gd name="connsiteY31" fmla="*/ 725607 h 1450763"/>
                <a:gd name="connsiteX32" fmla="*/ 1401962 w 5610325"/>
                <a:gd name="connsiteY32" fmla="*/ 725607 h 1450763"/>
                <a:gd name="connsiteX33" fmla="*/ 1415704 w 5610325"/>
                <a:gd name="connsiteY33" fmla="*/ 861925 h 1450763"/>
                <a:gd name="connsiteX34" fmla="*/ 2079452 w 5610325"/>
                <a:gd name="connsiteY34" fmla="*/ 1402895 h 1450763"/>
                <a:gd name="connsiteX35" fmla="*/ 2756965 w 5610325"/>
                <a:gd name="connsiteY35" fmla="*/ 725382 h 1450763"/>
                <a:gd name="connsiteX36" fmla="*/ 2756942 w 5610325"/>
                <a:gd name="connsiteY36" fmla="*/ 725157 h 1450763"/>
                <a:gd name="connsiteX37" fmla="*/ 2757647 w 5610325"/>
                <a:gd name="connsiteY37" fmla="*/ 725157 h 1450763"/>
                <a:gd name="connsiteX38" fmla="*/ 2772361 w 5610325"/>
                <a:gd name="connsiteY38" fmla="*/ 579192 h 1450763"/>
                <a:gd name="connsiteX39" fmla="*/ 3483005 w 5610325"/>
                <a:gd name="connsiteY39" fmla="*/ 0 h 1450763"/>
                <a:gd name="connsiteX40" fmla="*/ 4208386 w 5610325"/>
                <a:gd name="connsiteY40" fmla="*/ 725381 h 1450763"/>
                <a:gd name="connsiteX41" fmla="*/ 4208375 w 5610325"/>
                <a:gd name="connsiteY41" fmla="*/ 725606 h 1450763"/>
                <a:gd name="connsiteX42" fmla="*/ 4207454 w 5610325"/>
                <a:gd name="connsiteY42" fmla="*/ 725606 h 1450763"/>
                <a:gd name="connsiteX43" fmla="*/ 4207431 w 5610325"/>
                <a:gd name="connsiteY43" fmla="*/ 725381 h 1450763"/>
                <a:gd name="connsiteX44" fmla="*/ 4207454 w 5610325"/>
                <a:gd name="connsiteY44" fmla="*/ 725156 h 1450763"/>
                <a:gd name="connsiteX45" fmla="*/ 4160495 w 5610325"/>
                <a:gd name="connsiteY45" fmla="*/ 725156 h 1450763"/>
                <a:gd name="connsiteX46" fmla="*/ 4146753 w 5610325"/>
                <a:gd name="connsiteY46" fmla="*/ 588839 h 1450763"/>
                <a:gd name="connsiteX47" fmla="*/ 3483005 w 5610325"/>
                <a:gd name="connsiteY47" fmla="*/ 47868 h 1450763"/>
                <a:gd name="connsiteX48" fmla="*/ 2805492 w 5610325"/>
                <a:gd name="connsiteY48" fmla="*/ 725381 h 1450763"/>
                <a:gd name="connsiteX49" fmla="*/ 2805515 w 5610325"/>
                <a:gd name="connsiteY49" fmla="*/ 725606 h 1450763"/>
                <a:gd name="connsiteX50" fmla="*/ 2804810 w 5610325"/>
                <a:gd name="connsiteY50" fmla="*/ 725606 h 1450763"/>
                <a:gd name="connsiteX51" fmla="*/ 2790096 w 5610325"/>
                <a:gd name="connsiteY51" fmla="*/ 871572 h 1450763"/>
                <a:gd name="connsiteX52" fmla="*/ 2079452 w 5610325"/>
                <a:gd name="connsiteY52" fmla="*/ 1450763 h 1450763"/>
                <a:gd name="connsiteX0" fmla="*/ 1402882 w 5610325"/>
                <a:gd name="connsiteY0" fmla="*/ 725607 h 1450763"/>
                <a:gd name="connsiteX1" fmla="*/ 1401962 w 5610325"/>
                <a:gd name="connsiteY1" fmla="*/ 725607 h 1450763"/>
                <a:gd name="connsiteX2" fmla="*/ 1401938 w 5610325"/>
                <a:gd name="connsiteY2" fmla="*/ 725382 h 1450763"/>
                <a:gd name="connsiteX3" fmla="*/ 1401962 w 5610325"/>
                <a:gd name="connsiteY3" fmla="*/ 725157 h 1450763"/>
                <a:gd name="connsiteX4" fmla="*/ 1355002 w 5610325"/>
                <a:gd name="connsiteY4" fmla="*/ 725157 h 1450763"/>
                <a:gd name="connsiteX5" fmla="*/ 1341262 w 5610325"/>
                <a:gd name="connsiteY5" fmla="*/ 588840 h 1450763"/>
                <a:gd name="connsiteX6" fmla="*/ 677514 w 5610325"/>
                <a:gd name="connsiteY6" fmla="*/ 47869 h 1450763"/>
                <a:gd name="connsiteX7" fmla="*/ 0 w 5610325"/>
                <a:gd name="connsiteY7" fmla="*/ 725382 h 1450763"/>
                <a:gd name="connsiteX8" fmla="*/ 677514 w 5610325"/>
                <a:gd name="connsiteY8" fmla="*/ 1 h 1450763"/>
                <a:gd name="connsiteX9" fmla="*/ 1402894 w 5610325"/>
                <a:gd name="connsiteY9" fmla="*/ 725382 h 1450763"/>
                <a:gd name="connsiteX10" fmla="*/ 1402882 w 5610325"/>
                <a:gd name="connsiteY10" fmla="*/ 725607 h 1450763"/>
                <a:gd name="connsiteX11" fmla="*/ 4884944 w 5610325"/>
                <a:gd name="connsiteY11" fmla="*/ 1450762 h 1450763"/>
                <a:gd name="connsiteX12" fmla="*/ 4159563 w 5610325"/>
                <a:gd name="connsiteY12" fmla="*/ 725381 h 1450763"/>
                <a:gd name="connsiteX13" fmla="*/ 4159574 w 5610325"/>
                <a:gd name="connsiteY13" fmla="*/ 725156 h 1450763"/>
                <a:gd name="connsiteX14" fmla="*/ 4160495 w 5610325"/>
                <a:gd name="connsiteY14" fmla="*/ 725156 h 1450763"/>
                <a:gd name="connsiteX15" fmla="*/ 4160518 w 5610325"/>
                <a:gd name="connsiteY15" fmla="*/ 725381 h 1450763"/>
                <a:gd name="connsiteX16" fmla="*/ 4160495 w 5610325"/>
                <a:gd name="connsiteY16" fmla="*/ 725606 h 1450763"/>
                <a:gd name="connsiteX17" fmla="*/ 4207454 w 5610325"/>
                <a:gd name="connsiteY17" fmla="*/ 725606 h 1450763"/>
                <a:gd name="connsiteX18" fmla="*/ 4221196 w 5610325"/>
                <a:gd name="connsiteY18" fmla="*/ 861924 h 1450763"/>
                <a:gd name="connsiteX19" fmla="*/ 4884944 w 5610325"/>
                <a:gd name="connsiteY19" fmla="*/ 1402894 h 1450763"/>
                <a:gd name="connsiteX20" fmla="*/ 5562457 w 5610325"/>
                <a:gd name="connsiteY20" fmla="*/ 725381 h 1450763"/>
                <a:gd name="connsiteX21" fmla="*/ 5562434 w 5610325"/>
                <a:gd name="connsiteY21" fmla="*/ 725156 h 1450763"/>
                <a:gd name="connsiteX22" fmla="*/ 5610314 w 5610325"/>
                <a:gd name="connsiteY22" fmla="*/ 725156 h 1450763"/>
                <a:gd name="connsiteX23" fmla="*/ 5610325 w 5610325"/>
                <a:gd name="connsiteY23" fmla="*/ 725381 h 1450763"/>
                <a:gd name="connsiteX24" fmla="*/ 4884944 w 5610325"/>
                <a:gd name="connsiteY24" fmla="*/ 1450762 h 1450763"/>
                <a:gd name="connsiteX25" fmla="*/ 2079452 w 5610325"/>
                <a:gd name="connsiteY25" fmla="*/ 1450763 h 1450763"/>
                <a:gd name="connsiteX26" fmla="*/ 1354070 w 5610325"/>
                <a:gd name="connsiteY26" fmla="*/ 725382 h 1450763"/>
                <a:gd name="connsiteX27" fmla="*/ 1354082 w 5610325"/>
                <a:gd name="connsiteY27" fmla="*/ 725157 h 1450763"/>
                <a:gd name="connsiteX28" fmla="*/ 1355002 w 5610325"/>
                <a:gd name="connsiteY28" fmla="*/ 725157 h 1450763"/>
                <a:gd name="connsiteX29" fmla="*/ 1355026 w 5610325"/>
                <a:gd name="connsiteY29" fmla="*/ 725382 h 1450763"/>
                <a:gd name="connsiteX30" fmla="*/ 1355002 w 5610325"/>
                <a:gd name="connsiteY30" fmla="*/ 725607 h 1450763"/>
                <a:gd name="connsiteX31" fmla="*/ 1401962 w 5610325"/>
                <a:gd name="connsiteY31" fmla="*/ 725607 h 1450763"/>
                <a:gd name="connsiteX32" fmla="*/ 1415704 w 5610325"/>
                <a:gd name="connsiteY32" fmla="*/ 861925 h 1450763"/>
                <a:gd name="connsiteX33" fmla="*/ 2079452 w 5610325"/>
                <a:gd name="connsiteY33" fmla="*/ 1402895 h 1450763"/>
                <a:gd name="connsiteX34" fmla="*/ 2756965 w 5610325"/>
                <a:gd name="connsiteY34" fmla="*/ 725382 h 1450763"/>
                <a:gd name="connsiteX35" fmla="*/ 2756942 w 5610325"/>
                <a:gd name="connsiteY35" fmla="*/ 725157 h 1450763"/>
                <a:gd name="connsiteX36" fmla="*/ 2757647 w 5610325"/>
                <a:gd name="connsiteY36" fmla="*/ 725157 h 1450763"/>
                <a:gd name="connsiteX37" fmla="*/ 2772361 w 5610325"/>
                <a:gd name="connsiteY37" fmla="*/ 579192 h 1450763"/>
                <a:gd name="connsiteX38" fmla="*/ 3483005 w 5610325"/>
                <a:gd name="connsiteY38" fmla="*/ 0 h 1450763"/>
                <a:gd name="connsiteX39" fmla="*/ 4208386 w 5610325"/>
                <a:gd name="connsiteY39" fmla="*/ 725381 h 1450763"/>
                <a:gd name="connsiteX40" fmla="*/ 4208375 w 5610325"/>
                <a:gd name="connsiteY40" fmla="*/ 725606 h 1450763"/>
                <a:gd name="connsiteX41" fmla="*/ 4207454 w 5610325"/>
                <a:gd name="connsiteY41" fmla="*/ 725606 h 1450763"/>
                <a:gd name="connsiteX42" fmla="*/ 4207431 w 5610325"/>
                <a:gd name="connsiteY42" fmla="*/ 725381 h 1450763"/>
                <a:gd name="connsiteX43" fmla="*/ 4207454 w 5610325"/>
                <a:gd name="connsiteY43" fmla="*/ 725156 h 1450763"/>
                <a:gd name="connsiteX44" fmla="*/ 4160495 w 5610325"/>
                <a:gd name="connsiteY44" fmla="*/ 725156 h 1450763"/>
                <a:gd name="connsiteX45" fmla="*/ 4146753 w 5610325"/>
                <a:gd name="connsiteY45" fmla="*/ 588839 h 1450763"/>
                <a:gd name="connsiteX46" fmla="*/ 3483005 w 5610325"/>
                <a:gd name="connsiteY46" fmla="*/ 47868 h 1450763"/>
                <a:gd name="connsiteX47" fmla="*/ 2805492 w 5610325"/>
                <a:gd name="connsiteY47" fmla="*/ 725381 h 1450763"/>
                <a:gd name="connsiteX48" fmla="*/ 2805515 w 5610325"/>
                <a:gd name="connsiteY48" fmla="*/ 725606 h 1450763"/>
                <a:gd name="connsiteX49" fmla="*/ 2804810 w 5610325"/>
                <a:gd name="connsiteY49" fmla="*/ 725606 h 1450763"/>
                <a:gd name="connsiteX50" fmla="*/ 2790096 w 5610325"/>
                <a:gd name="connsiteY50" fmla="*/ 871572 h 1450763"/>
                <a:gd name="connsiteX51" fmla="*/ 2079452 w 5610325"/>
                <a:gd name="connsiteY51" fmla="*/ 1450763 h 1450763"/>
                <a:gd name="connsiteX0" fmla="*/ 812232 w 5019675"/>
                <a:gd name="connsiteY0" fmla="*/ 785965 h 1511121"/>
                <a:gd name="connsiteX1" fmla="*/ 811312 w 5019675"/>
                <a:gd name="connsiteY1" fmla="*/ 785965 h 1511121"/>
                <a:gd name="connsiteX2" fmla="*/ 811288 w 5019675"/>
                <a:gd name="connsiteY2" fmla="*/ 785740 h 1511121"/>
                <a:gd name="connsiteX3" fmla="*/ 811312 w 5019675"/>
                <a:gd name="connsiteY3" fmla="*/ 785515 h 1511121"/>
                <a:gd name="connsiteX4" fmla="*/ 764352 w 5019675"/>
                <a:gd name="connsiteY4" fmla="*/ 785515 h 1511121"/>
                <a:gd name="connsiteX5" fmla="*/ 750612 w 5019675"/>
                <a:gd name="connsiteY5" fmla="*/ 649198 h 1511121"/>
                <a:gd name="connsiteX6" fmla="*/ 86864 w 5019675"/>
                <a:gd name="connsiteY6" fmla="*/ 108227 h 1511121"/>
                <a:gd name="connsiteX7" fmla="*/ 86864 w 5019675"/>
                <a:gd name="connsiteY7" fmla="*/ 60359 h 1511121"/>
                <a:gd name="connsiteX8" fmla="*/ 812244 w 5019675"/>
                <a:gd name="connsiteY8" fmla="*/ 785740 h 1511121"/>
                <a:gd name="connsiteX9" fmla="*/ 812232 w 5019675"/>
                <a:gd name="connsiteY9" fmla="*/ 785965 h 1511121"/>
                <a:gd name="connsiteX10" fmla="*/ 4294294 w 5019675"/>
                <a:gd name="connsiteY10" fmla="*/ 1511120 h 1511121"/>
                <a:gd name="connsiteX11" fmla="*/ 3568913 w 5019675"/>
                <a:gd name="connsiteY11" fmla="*/ 785739 h 1511121"/>
                <a:gd name="connsiteX12" fmla="*/ 3568924 w 5019675"/>
                <a:gd name="connsiteY12" fmla="*/ 785514 h 1511121"/>
                <a:gd name="connsiteX13" fmla="*/ 3569845 w 5019675"/>
                <a:gd name="connsiteY13" fmla="*/ 785514 h 1511121"/>
                <a:gd name="connsiteX14" fmla="*/ 3569868 w 5019675"/>
                <a:gd name="connsiteY14" fmla="*/ 785739 h 1511121"/>
                <a:gd name="connsiteX15" fmla="*/ 3569845 w 5019675"/>
                <a:gd name="connsiteY15" fmla="*/ 785964 h 1511121"/>
                <a:gd name="connsiteX16" fmla="*/ 3616804 w 5019675"/>
                <a:gd name="connsiteY16" fmla="*/ 785964 h 1511121"/>
                <a:gd name="connsiteX17" fmla="*/ 3630546 w 5019675"/>
                <a:gd name="connsiteY17" fmla="*/ 922282 h 1511121"/>
                <a:gd name="connsiteX18" fmla="*/ 4294294 w 5019675"/>
                <a:gd name="connsiteY18" fmla="*/ 1463252 h 1511121"/>
                <a:gd name="connsiteX19" fmla="*/ 4971807 w 5019675"/>
                <a:gd name="connsiteY19" fmla="*/ 785739 h 1511121"/>
                <a:gd name="connsiteX20" fmla="*/ 4971784 w 5019675"/>
                <a:gd name="connsiteY20" fmla="*/ 785514 h 1511121"/>
                <a:gd name="connsiteX21" fmla="*/ 5019664 w 5019675"/>
                <a:gd name="connsiteY21" fmla="*/ 785514 h 1511121"/>
                <a:gd name="connsiteX22" fmla="*/ 5019675 w 5019675"/>
                <a:gd name="connsiteY22" fmla="*/ 785739 h 1511121"/>
                <a:gd name="connsiteX23" fmla="*/ 4294294 w 5019675"/>
                <a:gd name="connsiteY23" fmla="*/ 1511120 h 1511121"/>
                <a:gd name="connsiteX24" fmla="*/ 1488802 w 5019675"/>
                <a:gd name="connsiteY24" fmla="*/ 1511121 h 1511121"/>
                <a:gd name="connsiteX25" fmla="*/ 763420 w 5019675"/>
                <a:gd name="connsiteY25" fmla="*/ 785740 h 1511121"/>
                <a:gd name="connsiteX26" fmla="*/ 763432 w 5019675"/>
                <a:gd name="connsiteY26" fmla="*/ 785515 h 1511121"/>
                <a:gd name="connsiteX27" fmla="*/ 764352 w 5019675"/>
                <a:gd name="connsiteY27" fmla="*/ 785515 h 1511121"/>
                <a:gd name="connsiteX28" fmla="*/ 764376 w 5019675"/>
                <a:gd name="connsiteY28" fmla="*/ 785740 h 1511121"/>
                <a:gd name="connsiteX29" fmla="*/ 764352 w 5019675"/>
                <a:gd name="connsiteY29" fmla="*/ 785965 h 1511121"/>
                <a:gd name="connsiteX30" fmla="*/ 811312 w 5019675"/>
                <a:gd name="connsiteY30" fmla="*/ 785965 h 1511121"/>
                <a:gd name="connsiteX31" fmla="*/ 825054 w 5019675"/>
                <a:gd name="connsiteY31" fmla="*/ 922283 h 1511121"/>
                <a:gd name="connsiteX32" fmla="*/ 1488802 w 5019675"/>
                <a:gd name="connsiteY32" fmla="*/ 1463253 h 1511121"/>
                <a:gd name="connsiteX33" fmla="*/ 2166315 w 5019675"/>
                <a:gd name="connsiteY33" fmla="*/ 785740 h 1511121"/>
                <a:gd name="connsiteX34" fmla="*/ 2166292 w 5019675"/>
                <a:gd name="connsiteY34" fmla="*/ 785515 h 1511121"/>
                <a:gd name="connsiteX35" fmla="*/ 2166997 w 5019675"/>
                <a:gd name="connsiteY35" fmla="*/ 785515 h 1511121"/>
                <a:gd name="connsiteX36" fmla="*/ 2181711 w 5019675"/>
                <a:gd name="connsiteY36" fmla="*/ 639550 h 1511121"/>
                <a:gd name="connsiteX37" fmla="*/ 2892355 w 5019675"/>
                <a:gd name="connsiteY37" fmla="*/ 60358 h 1511121"/>
                <a:gd name="connsiteX38" fmla="*/ 3617736 w 5019675"/>
                <a:gd name="connsiteY38" fmla="*/ 785739 h 1511121"/>
                <a:gd name="connsiteX39" fmla="*/ 3617725 w 5019675"/>
                <a:gd name="connsiteY39" fmla="*/ 785964 h 1511121"/>
                <a:gd name="connsiteX40" fmla="*/ 3616804 w 5019675"/>
                <a:gd name="connsiteY40" fmla="*/ 785964 h 1511121"/>
                <a:gd name="connsiteX41" fmla="*/ 3616781 w 5019675"/>
                <a:gd name="connsiteY41" fmla="*/ 785739 h 1511121"/>
                <a:gd name="connsiteX42" fmla="*/ 3616804 w 5019675"/>
                <a:gd name="connsiteY42" fmla="*/ 785514 h 1511121"/>
                <a:gd name="connsiteX43" fmla="*/ 3569845 w 5019675"/>
                <a:gd name="connsiteY43" fmla="*/ 785514 h 1511121"/>
                <a:gd name="connsiteX44" fmla="*/ 3556103 w 5019675"/>
                <a:gd name="connsiteY44" fmla="*/ 649197 h 1511121"/>
                <a:gd name="connsiteX45" fmla="*/ 2892355 w 5019675"/>
                <a:gd name="connsiteY45" fmla="*/ 108226 h 1511121"/>
                <a:gd name="connsiteX46" fmla="*/ 2214842 w 5019675"/>
                <a:gd name="connsiteY46" fmla="*/ 785739 h 1511121"/>
                <a:gd name="connsiteX47" fmla="*/ 2214865 w 5019675"/>
                <a:gd name="connsiteY47" fmla="*/ 785964 h 1511121"/>
                <a:gd name="connsiteX48" fmla="*/ 2214160 w 5019675"/>
                <a:gd name="connsiteY48" fmla="*/ 785964 h 1511121"/>
                <a:gd name="connsiteX49" fmla="*/ 2199446 w 5019675"/>
                <a:gd name="connsiteY49" fmla="*/ 931930 h 1511121"/>
                <a:gd name="connsiteX50" fmla="*/ 1488802 w 5019675"/>
                <a:gd name="connsiteY50" fmla="*/ 1511121 h 1511121"/>
                <a:gd name="connsiteX0" fmla="*/ 725497 w 4932940"/>
                <a:gd name="connsiteY0" fmla="*/ 725607 h 1450763"/>
                <a:gd name="connsiteX1" fmla="*/ 724577 w 4932940"/>
                <a:gd name="connsiteY1" fmla="*/ 725607 h 1450763"/>
                <a:gd name="connsiteX2" fmla="*/ 724553 w 4932940"/>
                <a:gd name="connsiteY2" fmla="*/ 725382 h 1450763"/>
                <a:gd name="connsiteX3" fmla="*/ 724577 w 4932940"/>
                <a:gd name="connsiteY3" fmla="*/ 725157 h 1450763"/>
                <a:gd name="connsiteX4" fmla="*/ 677617 w 4932940"/>
                <a:gd name="connsiteY4" fmla="*/ 725157 h 1450763"/>
                <a:gd name="connsiteX5" fmla="*/ 663877 w 4932940"/>
                <a:gd name="connsiteY5" fmla="*/ 588840 h 1450763"/>
                <a:gd name="connsiteX6" fmla="*/ 129 w 4932940"/>
                <a:gd name="connsiteY6" fmla="*/ 47869 h 1450763"/>
                <a:gd name="connsiteX7" fmla="*/ 725509 w 4932940"/>
                <a:gd name="connsiteY7" fmla="*/ 725382 h 1450763"/>
                <a:gd name="connsiteX8" fmla="*/ 725497 w 4932940"/>
                <a:gd name="connsiteY8" fmla="*/ 725607 h 1450763"/>
                <a:gd name="connsiteX9" fmla="*/ 4207559 w 4932940"/>
                <a:gd name="connsiteY9" fmla="*/ 1450762 h 1450763"/>
                <a:gd name="connsiteX10" fmla="*/ 3482178 w 4932940"/>
                <a:gd name="connsiteY10" fmla="*/ 725381 h 1450763"/>
                <a:gd name="connsiteX11" fmla="*/ 3482189 w 4932940"/>
                <a:gd name="connsiteY11" fmla="*/ 725156 h 1450763"/>
                <a:gd name="connsiteX12" fmla="*/ 3483110 w 4932940"/>
                <a:gd name="connsiteY12" fmla="*/ 725156 h 1450763"/>
                <a:gd name="connsiteX13" fmla="*/ 3483133 w 4932940"/>
                <a:gd name="connsiteY13" fmla="*/ 725381 h 1450763"/>
                <a:gd name="connsiteX14" fmla="*/ 3483110 w 4932940"/>
                <a:gd name="connsiteY14" fmla="*/ 725606 h 1450763"/>
                <a:gd name="connsiteX15" fmla="*/ 3530069 w 4932940"/>
                <a:gd name="connsiteY15" fmla="*/ 725606 h 1450763"/>
                <a:gd name="connsiteX16" fmla="*/ 3543811 w 4932940"/>
                <a:gd name="connsiteY16" fmla="*/ 861924 h 1450763"/>
                <a:gd name="connsiteX17" fmla="*/ 4207559 w 4932940"/>
                <a:gd name="connsiteY17" fmla="*/ 1402894 h 1450763"/>
                <a:gd name="connsiteX18" fmla="*/ 4885072 w 4932940"/>
                <a:gd name="connsiteY18" fmla="*/ 725381 h 1450763"/>
                <a:gd name="connsiteX19" fmla="*/ 4885049 w 4932940"/>
                <a:gd name="connsiteY19" fmla="*/ 725156 h 1450763"/>
                <a:gd name="connsiteX20" fmla="*/ 4932929 w 4932940"/>
                <a:gd name="connsiteY20" fmla="*/ 725156 h 1450763"/>
                <a:gd name="connsiteX21" fmla="*/ 4932940 w 4932940"/>
                <a:gd name="connsiteY21" fmla="*/ 725381 h 1450763"/>
                <a:gd name="connsiteX22" fmla="*/ 4207559 w 4932940"/>
                <a:gd name="connsiteY22" fmla="*/ 1450762 h 1450763"/>
                <a:gd name="connsiteX23" fmla="*/ 1402067 w 4932940"/>
                <a:gd name="connsiteY23" fmla="*/ 1450763 h 1450763"/>
                <a:gd name="connsiteX24" fmla="*/ 676685 w 4932940"/>
                <a:gd name="connsiteY24" fmla="*/ 725382 h 1450763"/>
                <a:gd name="connsiteX25" fmla="*/ 676697 w 4932940"/>
                <a:gd name="connsiteY25" fmla="*/ 725157 h 1450763"/>
                <a:gd name="connsiteX26" fmla="*/ 677617 w 4932940"/>
                <a:gd name="connsiteY26" fmla="*/ 725157 h 1450763"/>
                <a:gd name="connsiteX27" fmla="*/ 677641 w 4932940"/>
                <a:gd name="connsiteY27" fmla="*/ 725382 h 1450763"/>
                <a:gd name="connsiteX28" fmla="*/ 677617 w 4932940"/>
                <a:gd name="connsiteY28" fmla="*/ 725607 h 1450763"/>
                <a:gd name="connsiteX29" fmla="*/ 724577 w 4932940"/>
                <a:gd name="connsiteY29" fmla="*/ 725607 h 1450763"/>
                <a:gd name="connsiteX30" fmla="*/ 738319 w 4932940"/>
                <a:gd name="connsiteY30" fmla="*/ 861925 h 1450763"/>
                <a:gd name="connsiteX31" fmla="*/ 1402067 w 4932940"/>
                <a:gd name="connsiteY31" fmla="*/ 1402895 h 1450763"/>
                <a:gd name="connsiteX32" fmla="*/ 2079580 w 4932940"/>
                <a:gd name="connsiteY32" fmla="*/ 725382 h 1450763"/>
                <a:gd name="connsiteX33" fmla="*/ 2079557 w 4932940"/>
                <a:gd name="connsiteY33" fmla="*/ 725157 h 1450763"/>
                <a:gd name="connsiteX34" fmla="*/ 2080262 w 4932940"/>
                <a:gd name="connsiteY34" fmla="*/ 725157 h 1450763"/>
                <a:gd name="connsiteX35" fmla="*/ 2094976 w 4932940"/>
                <a:gd name="connsiteY35" fmla="*/ 579192 h 1450763"/>
                <a:gd name="connsiteX36" fmla="*/ 2805620 w 4932940"/>
                <a:gd name="connsiteY36" fmla="*/ 0 h 1450763"/>
                <a:gd name="connsiteX37" fmla="*/ 3531001 w 4932940"/>
                <a:gd name="connsiteY37" fmla="*/ 725381 h 1450763"/>
                <a:gd name="connsiteX38" fmla="*/ 3530990 w 4932940"/>
                <a:gd name="connsiteY38" fmla="*/ 725606 h 1450763"/>
                <a:gd name="connsiteX39" fmla="*/ 3530069 w 4932940"/>
                <a:gd name="connsiteY39" fmla="*/ 725606 h 1450763"/>
                <a:gd name="connsiteX40" fmla="*/ 3530046 w 4932940"/>
                <a:gd name="connsiteY40" fmla="*/ 725381 h 1450763"/>
                <a:gd name="connsiteX41" fmla="*/ 3530069 w 4932940"/>
                <a:gd name="connsiteY41" fmla="*/ 725156 h 1450763"/>
                <a:gd name="connsiteX42" fmla="*/ 3483110 w 4932940"/>
                <a:gd name="connsiteY42" fmla="*/ 725156 h 1450763"/>
                <a:gd name="connsiteX43" fmla="*/ 3469368 w 4932940"/>
                <a:gd name="connsiteY43" fmla="*/ 588839 h 1450763"/>
                <a:gd name="connsiteX44" fmla="*/ 2805620 w 4932940"/>
                <a:gd name="connsiteY44" fmla="*/ 47868 h 1450763"/>
                <a:gd name="connsiteX45" fmla="*/ 2128107 w 4932940"/>
                <a:gd name="connsiteY45" fmla="*/ 725381 h 1450763"/>
                <a:gd name="connsiteX46" fmla="*/ 2128130 w 4932940"/>
                <a:gd name="connsiteY46" fmla="*/ 725606 h 1450763"/>
                <a:gd name="connsiteX47" fmla="*/ 2127425 w 4932940"/>
                <a:gd name="connsiteY47" fmla="*/ 725606 h 1450763"/>
                <a:gd name="connsiteX48" fmla="*/ 2112711 w 4932940"/>
                <a:gd name="connsiteY48" fmla="*/ 871572 h 1450763"/>
                <a:gd name="connsiteX49" fmla="*/ 1402067 w 4932940"/>
                <a:gd name="connsiteY49" fmla="*/ 1450763 h 1450763"/>
                <a:gd name="connsiteX0" fmla="*/ 61620 w 4269063"/>
                <a:gd name="connsiteY0" fmla="*/ 725607 h 1450763"/>
                <a:gd name="connsiteX1" fmla="*/ 60700 w 4269063"/>
                <a:gd name="connsiteY1" fmla="*/ 725607 h 1450763"/>
                <a:gd name="connsiteX2" fmla="*/ 60676 w 4269063"/>
                <a:gd name="connsiteY2" fmla="*/ 725382 h 1450763"/>
                <a:gd name="connsiteX3" fmla="*/ 60700 w 4269063"/>
                <a:gd name="connsiteY3" fmla="*/ 725157 h 1450763"/>
                <a:gd name="connsiteX4" fmla="*/ 13740 w 4269063"/>
                <a:gd name="connsiteY4" fmla="*/ 725157 h 1450763"/>
                <a:gd name="connsiteX5" fmla="*/ 0 w 4269063"/>
                <a:gd name="connsiteY5" fmla="*/ 588840 h 1450763"/>
                <a:gd name="connsiteX6" fmla="*/ 61632 w 4269063"/>
                <a:gd name="connsiteY6" fmla="*/ 725382 h 1450763"/>
                <a:gd name="connsiteX7" fmla="*/ 61620 w 4269063"/>
                <a:gd name="connsiteY7" fmla="*/ 725607 h 1450763"/>
                <a:gd name="connsiteX8" fmla="*/ 3543682 w 4269063"/>
                <a:gd name="connsiteY8" fmla="*/ 1450762 h 1450763"/>
                <a:gd name="connsiteX9" fmla="*/ 2818301 w 4269063"/>
                <a:gd name="connsiteY9" fmla="*/ 725381 h 1450763"/>
                <a:gd name="connsiteX10" fmla="*/ 2818312 w 4269063"/>
                <a:gd name="connsiteY10" fmla="*/ 725156 h 1450763"/>
                <a:gd name="connsiteX11" fmla="*/ 2819233 w 4269063"/>
                <a:gd name="connsiteY11" fmla="*/ 725156 h 1450763"/>
                <a:gd name="connsiteX12" fmla="*/ 2819256 w 4269063"/>
                <a:gd name="connsiteY12" fmla="*/ 725381 h 1450763"/>
                <a:gd name="connsiteX13" fmla="*/ 2819233 w 4269063"/>
                <a:gd name="connsiteY13" fmla="*/ 725606 h 1450763"/>
                <a:gd name="connsiteX14" fmla="*/ 2866192 w 4269063"/>
                <a:gd name="connsiteY14" fmla="*/ 725606 h 1450763"/>
                <a:gd name="connsiteX15" fmla="*/ 2879934 w 4269063"/>
                <a:gd name="connsiteY15" fmla="*/ 861924 h 1450763"/>
                <a:gd name="connsiteX16" fmla="*/ 3543682 w 4269063"/>
                <a:gd name="connsiteY16" fmla="*/ 1402894 h 1450763"/>
                <a:gd name="connsiteX17" fmla="*/ 4221195 w 4269063"/>
                <a:gd name="connsiteY17" fmla="*/ 725381 h 1450763"/>
                <a:gd name="connsiteX18" fmla="*/ 4221172 w 4269063"/>
                <a:gd name="connsiteY18" fmla="*/ 725156 h 1450763"/>
                <a:gd name="connsiteX19" fmla="*/ 4269052 w 4269063"/>
                <a:gd name="connsiteY19" fmla="*/ 725156 h 1450763"/>
                <a:gd name="connsiteX20" fmla="*/ 4269063 w 4269063"/>
                <a:gd name="connsiteY20" fmla="*/ 725381 h 1450763"/>
                <a:gd name="connsiteX21" fmla="*/ 3543682 w 4269063"/>
                <a:gd name="connsiteY21" fmla="*/ 1450762 h 1450763"/>
                <a:gd name="connsiteX22" fmla="*/ 738190 w 4269063"/>
                <a:gd name="connsiteY22" fmla="*/ 1450763 h 1450763"/>
                <a:gd name="connsiteX23" fmla="*/ 12808 w 4269063"/>
                <a:gd name="connsiteY23" fmla="*/ 725382 h 1450763"/>
                <a:gd name="connsiteX24" fmla="*/ 12820 w 4269063"/>
                <a:gd name="connsiteY24" fmla="*/ 725157 h 1450763"/>
                <a:gd name="connsiteX25" fmla="*/ 13740 w 4269063"/>
                <a:gd name="connsiteY25" fmla="*/ 725157 h 1450763"/>
                <a:gd name="connsiteX26" fmla="*/ 13764 w 4269063"/>
                <a:gd name="connsiteY26" fmla="*/ 725382 h 1450763"/>
                <a:gd name="connsiteX27" fmla="*/ 13740 w 4269063"/>
                <a:gd name="connsiteY27" fmla="*/ 725607 h 1450763"/>
                <a:gd name="connsiteX28" fmla="*/ 60700 w 4269063"/>
                <a:gd name="connsiteY28" fmla="*/ 725607 h 1450763"/>
                <a:gd name="connsiteX29" fmla="*/ 74442 w 4269063"/>
                <a:gd name="connsiteY29" fmla="*/ 861925 h 1450763"/>
                <a:gd name="connsiteX30" fmla="*/ 738190 w 4269063"/>
                <a:gd name="connsiteY30" fmla="*/ 1402895 h 1450763"/>
                <a:gd name="connsiteX31" fmla="*/ 1415703 w 4269063"/>
                <a:gd name="connsiteY31" fmla="*/ 725382 h 1450763"/>
                <a:gd name="connsiteX32" fmla="*/ 1415680 w 4269063"/>
                <a:gd name="connsiteY32" fmla="*/ 725157 h 1450763"/>
                <a:gd name="connsiteX33" fmla="*/ 1416385 w 4269063"/>
                <a:gd name="connsiteY33" fmla="*/ 725157 h 1450763"/>
                <a:gd name="connsiteX34" fmla="*/ 1431099 w 4269063"/>
                <a:gd name="connsiteY34" fmla="*/ 579192 h 1450763"/>
                <a:gd name="connsiteX35" fmla="*/ 2141743 w 4269063"/>
                <a:gd name="connsiteY35" fmla="*/ 0 h 1450763"/>
                <a:gd name="connsiteX36" fmla="*/ 2867124 w 4269063"/>
                <a:gd name="connsiteY36" fmla="*/ 725381 h 1450763"/>
                <a:gd name="connsiteX37" fmla="*/ 2867113 w 4269063"/>
                <a:gd name="connsiteY37" fmla="*/ 725606 h 1450763"/>
                <a:gd name="connsiteX38" fmla="*/ 2866192 w 4269063"/>
                <a:gd name="connsiteY38" fmla="*/ 725606 h 1450763"/>
                <a:gd name="connsiteX39" fmla="*/ 2866169 w 4269063"/>
                <a:gd name="connsiteY39" fmla="*/ 725381 h 1450763"/>
                <a:gd name="connsiteX40" fmla="*/ 2866192 w 4269063"/>
                <a:gd name="connsiteY40" fmla="*/ 725156 h 1450763"/>
                <a:gd name="connsiteX41" fmla="*/ 2819233 w 4269063"/>
                <a:gd name="connsiteY41" fmla="*/ 725156 h 1450763"/>
                <a:gd name="connsiteX42" fmla="*/ 2805491 w 4269063"/>
                <a:gd name="connsiteY42" fmla="*/ 588839 h 1450763"/>
                <a:gd name="connsiteX43" fmla="*/ 2141743 w 4269063"/>
                <a:gd name="connsiteY43" fmla="*/ 47868 h 1450763"/>
                <a:gd name="connsiteX44" fmla="*/ 1464230 w 4269063"/>
                <a:gd name="connsiteY44" fmla="*/ 725381 h 1450763"/>
                <a:gd name="connsiteX45" fmla="*/ 1464253 w 4269063"/>
                <a:gd name="connsiteY45" fmla="*/ 725606 h 1450763"/>
                <a:gd name="connsiteX46" fmla="*/ 1463548 w 4269063"/>
                <a:gd name="connsiteY46" fmla="*/ 725606 h 1450763"/>
                <a:gd name="connsiteX47" fmla="*/ 1448834 w 4269063"/>
                <a:gd name="connsiteY47" fmla="*/ 871572 h 1450763"/>
                <a:gd name="connsiteX48" fmla="*/ 738190 w 4269063"/>
                <a:gd name="connsiteY48" fmla="*/ 1450763 h 1450763"/>
                <a:gd name="connsiteX0" fmla="*/ 48812 w 4256255"/>
                <a:gd name="connsiteY0" fmla="*/ 725607 h 1450763"/>
                <a:gd name="connsiteX1" fmla="*/ 47892 w 4256255"/>
                <a:gd name="connsiteY1" fmla="*/ 725607 h 1450763"/>
                <a:gd name="connsiteX2" fmla="*/ 47868 w 4256255"/>
                <a:gd name="connsiteY2" fmla="*/ 725382 h 1450763"/>
                <a:gd name="connsiteX3" fmla="*/ 47892 w 4256255"/>
                <a:gd name="connsiteY3" fmla="*/ 725157 h 1450763"/>
                <a:gd name="connsiteX4" fmla="*/ 932 w 4256255"/>
                <a:gd name="connsiteY4" fmla="*/ 725157 h 1450763"/>
                <a:gd name="connsiteX5" fmla="*/ 48824 w 4256255"/>
                <a:gd name="connsiteY5" fmla="*/ 725382 h 1450763"/>
                <a:gd name="connsiteX6" fmla="*/ 48812 w 4256255"/>
                <a:gd name="connsiteY6" fmla="*/ 725607 h 1450763"/>
                <a:gd name="connsiteX7" fmla="*/ 3530874 w 4256255"/>
                <a:gd name="connsiteY7" fmla="*/ 1450762 h 1450763"/>
                <a:gd name="connsiteX8" fmla="*/ 2805493 w 4256255"/>
                <a:gd name="connsiteY8" fmla="*/ 725381 h 1450763"/>
                <a:gd name="connsiteX9" fmla="*/ 2805504 w 4256255"/>
                <a:gd name="connsiteY9" fmla="*/ 725156 h 1450763"/>
                <a:gd name="connsiteX10" fmla="*/ 2806425 w 4256255"/>
                <a:gd name="connsiteY10" fmla="*/ 725156 h 1450763"/>
                <a:gd name="connsiteX11" fmla="*/ 2806448 w 4256255"/>
                <a:gd name="connsiteY11" fmla="*/ 725381 h 1450763"/>
                <a:gd name="connsiteX12" fmla="*/ 2806425 w 4256255"/>
                <a:gd name="connsiteY12" fmla="*/ 725606 h 1450763"/>
                <a:gd name="connsiteX13" fmla="*/ 2853384 w 4256255"/>
                <a:gd name="connsiteY13" fmla="*/ 725606 h 1450763"/>
                <a:gd name="connsiteX14" fmla="*/ 2867126 w 4256255"/>
                <a:gd name="connsiteY14" fmla="*/ 861924 h 1450763"/>
                <a:gd name="connsiteX15" fmla="*/ 3530874 w 4256255"/>
                <a:gd name="connsiteY15" fmla="*/ 1402894 h 1450763"/>
                <a:gd name="connsiteX16" fmla="*/ 4208387 w 4256255"/>
                <a:gd name="connsiteY16" fmla="*/ 725381 h 1450763"/>
                <a:gd name="connsiteX17" fmla="*/ 4208364 w 4256255"/>
                <a:gd name="connsiteY17" fmla="*/ 725156 h 1450763"/>
                <a:gd name="connsiteX18" fmla="*/ 4256244 w 4256255"/>
                <a:gd name="connsiteY18" fmla="*/ 725156 h 1450763"/>
                <a:gd name="connsiteX19" fmla="*/ 4256255 w 4256255"/>
                <a:gd name="connsiteY19" fmla="*/ 725381 h 1450763"/>
                <a:gd name="connsiteX20" fmla="*/ 3530874 w 4256255"/>
                <a:gd name="connsiteY20" fmla="*/ 1450762 h 1450763"/>
                <a:gd name="connsiteX21" fmla="*/ 725382 w 4256255"/>
                <a:gd name="connsiteY21" fmla="*/ 1450763 h 1450763"/>
                <a:gd name="connsiteX22" fmla="*/ 0 w 4256255"/>
                <a:gd name="connsiteY22" fmla="*/ 725382 h 1450763"/>
                <a:gd name="connsiteX23" fmla="*/ 12 w 4256255"/>
                <a:gd name="connsiteY23" fmla="*/ 725157 h 1450763"/>
                <a:gd name="connsiteX24" fmla="*/ 932 w 4256255"/>
                <a:gd name="connsiteY24" fmla="*/ 725157 h 1450763"/>
                <a:gd name="connsiteX25" fmla="*/ 956 w 4256255"/>
                <a:gd name="connsiteY25" fmla="*/ 725382 h 1450763"/>
                <a:gd name="connsiteX26" fmla="*/ 932 w 4256255"/>
                <a:gd name="connsiteY26" fmla="*/ 725607 h 1450763"/>
                <a:gd name="connsiteX27" fmla="*/ 47892 w 4256255"/>
                <a:gd name="connsiteY27" fmla="*/ 725607 h 1450763"/>
                <a:gd name="connsiteX28" fmla="*/ 61634 w 4256255"/>
                <a:gd name="connsiteY28" fmla="*/ 861925 h 1450763"/>
                <a:gd name="connsiteX29" fmla="*/ 725382 w 4256255"/>
                <a:gd name="connsiteY29" fmla="*/ 1402895 h 1450763"/>
                <a:gd name="connsiteX30" fmla="*/ 1402895 w 4256255"/>
                <a:gd name="connsiteY30" fmla="*/ 725382 h 1450763"/>
                <a:gd name="connsiteX31" fmla="*/ 1402872 w 4256255"/>
                <a:gd name="connsiteY31" fmla="*/ 725157 h 1450763"/>
                <a:gd name="connsiteX32" fmla="*/ 1403577 w 4256255"/>
                <a:gd name="connsiteY32" fmla="*/ 725157 h 1450763"/>
                <a:gd name="connsiteX33" fmla="*/ 1418291 w 4256255"/>
                <a:gd name="connsiteY33" fmla="*/ 579192 h 1450763"/>
                <a:gd name="connsiteX34" fmla="*/ 2128935 w 4256255"/>
                <a:gd name="connsiteY34" fmla="*/ 0 h 1450763"/>
                <a:gd name="connsiteX35" fmla="*/ 2854316 w 4256255"/>
                <a:gd name="connsiteY35" fmla="*/ 725381 h 1450763"/>
                <a:gd name="connsiteX36" fmla="*/ 2854305 w 4256255"/>
                <a:gd name="connsiteY36" fmla="*/ 725606 h 1450763"/>
                <a:gd name="connsiteX37" fmla="*/ 2853384 w 4256255"/>
                <a:gd name="connsiteY37" fmla="*/ 725606 h 1450763"/>
                <a:gd name="connsiteX38" fmla="*/ 2853361 w 4256255"/>
                <a:gd name="connsiteY38" fmla="*/ 725381 h 1450763"/>
                <a:gd name="connsiteX39" fmla="*/ 2853384 w 4256255"/>
                <a:gd name="connsiteY39" fmla="*/ 725156 h 1450763"/>
                <a:gd name="connsiteX40" fmla="*/ 2806425 w 4256255"/>
                <a:gd name="connsiteY40" fmla="*/ 725156 h 1450763"/>
                <a:gd name="connsiteX41" fmla="*/ 2792683 w 4256255"/>
                <a:gd name="connsiteY41" fmla="*/ 588839 h 1450763"/>
                <a:gd name="connsiteX42" fmla="*/ 2128935 w 4256255"/>
                <a:gd name="connsiteY42" fmla="*/ 47868 h 1450763"/>
                <a:gd name="connsiteX43" fmla="*/ 1451422 w 4256255"/>
                <a:gd name="connsiteY43" fmla="*/ 725381 h 1450763"/>
                <a:gd name="connsiteX44" fmla="*/ 1451445 w 4256255"/>
                <a:gd name="connsiteY44" fmla="*/ 725606 h 1450763"/>
                <a:gd name="connsiteX45" fmla="*/ 1450740 w 4256255"/>
                <a:gd name="connsiteY45" fmla="*/ 725606 h 1450763"/>
                <a:gd name="connsiteX46" fmla="*/ 1436026 w 4256255"/>
                <a:gd name="connsiteY46" fmla="*/ 871572 h 1450763"/>
                <a:gd name="connsiteX47" fmla="*/ 725382 w 4256255"/>
                <a:gd name="connsiteY47" fmla="*/ 1450763 h 145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256255" h="1450763">
                  <a:moveTo>
                    <a:pt x="48812" y="725607"/>
                  </a:moveTo>
                  <a:lnTo>
                    <a:pt x="47892" y="725607"/>
                  </a:lnTo>
                  <a:lnTo>
                    <a:pt x="47868" y="725382"/>
                  </a:lnTo>
                  <a:lnTo>
                    <a:pt x="47892" y="725157"/>
                  </a:lnTo>
                  <a:lnTo>
                    <a:pt x="932" y="725157"/>
                  </a:lnTo>
                  <a:lnTo>
                    <a:pt x="48824" y="725382"/>
                  </a:lnTo>
                  <a:lnTo>
                    <a:pt x="48812" y="725607"/>
                  </a:lnTo>
                  <a:close/>
                  <a:moveTo>
                    <a:pt x="3530874" y="1450762"/>
                  </a:moveTo>
                  <a:cubicBezTo>
                    <a:pt x="3130257" y="1450762"/>
                    <a:pt x="2805493" y="1125998"/>
                    <a:pt x="2805493" y="725381"/>
                  </a:cubicBezTo>
                  <a:cubicBezTo>
                    <a:pt x="2805497" y="725306"/>
                    <a:pt x="2805500" y="725231"/>
                    <a:pt x="2805504" y="725156"/>
                  </a:cubicBezTo>
                  <a:lnTo>
                    <a:pt x="2806425" y="725156"/>
                  </a:lnTo>
                  <a:cubicBezTo>
                    <a:pt x="2806433" y="725231"/>
                    <a:pt x="2806440" y="725306"/>
                    <a:pt x="2806448" y="725381"/>
                  </a:cubicBezTo>
                  <a:cubicBezTo>
                    <a:pt x="2806440" y="725456"/>
                    <a:pt x="2806433" y="725531"/>
                    <a:pt x="2806425" y="725606"/>
                  </a:cubicBezTo>
                  <a:lnTo>
                    <a:pt x="2853384" y="725606"/>
                  </a:lnTo>
                  <a:lnTo>
                    <a:pt x="2867126" y="861924"/>
                  </a:lnTo>
                  <a:cubicBezTo>
                    <a:pt x="2930301" y="1170655"/>
                    <a:pt x="3203466" y="1402894"/>
                    <a:pt x="3530874" y="1402894"/>
                  </a:cubicBezTo>
                  <a:cubicBezTo>
                    <a:pt x="3905054" y="1402894"/>
                    <a:pt x="4208387" y="1099561"/>
                    <a:pt x="4208387" y="725381"/>
                  </a:cubicBezTo>
                  <a:cubicBezTo>
                    <a:pt x="4208379" y="725306"/>
                    <a:pt x="4208372" y="725231"/>
                    <a:pt x="4208364" y="725156"/>
                  </a:cubicBezTo>
                  <a:lnTo>
                    <a:pt x="4256244" y="725156"/>
                  </a:lnTo>
                  <a:cubicBezTo>
                    <a:pt x="4256248" y="725231"/>
                    <a:pt x="4256251" y="725306"/>
                    <a:pt x="4256255" y="725381"/>
                  </a:cubicBezTo>
                  <a:cubicBezTo>
                    <a:pt x="4256255" y="1125998"/>
                    <a:pt x="3931491" y="1450762"/>
                    <a:pt x="3530874" y="1450762"/>
                  </a:cubicBezTo>
                  <a:close/>
                  <a:moveTo>
                    <a:pt x="725382" y="1450763"/>
                  </a:moveTo>
                  <a:cubicBezTo>
                    <a:pt x="324765" y="1450763"/>
                    <a:pt x="0" y="1125999"/>
                    <a:pt x="0" y="725382"/>
                  </a:cubicBezTo>
                  <a:lnTo>
                    <a:pt x="12" y="725157"/>
                  </a:lnTo>
                  <a:lnTo>
                    <a:pt x="932" y="725157"/>
                  </a:lnTo>
                  <a:lnTo>
                    <a:pt x="956" y="725382"/>
                  </a:lnTo>
                  <a:lnTo>
                    <a:pt x="932" y="725607"/>
                  </a:lnTo>
                  <a:lnTo>
                    <a:pt x="47892" y="725607"/>
                  </a:lnTo>
                  <a:lnTo>
                    <a:pt x="61634" y="861925"/>
                  </a:lnTo>
                  <a:cubicBezTo>
                    <a:pt x="124808" y="1170656"/>
                    <a:pt x="397974" y="1402895"/>
                    <a:pt x="725382" y="1402895"/>
                  </a:cubicBezTo>
                  <a:cubicBezTo>
                    <a:pt x="1099562" y="1402895"/>
                    <a:pt x="1402895" y="1099562"/>
                    <a:pt x="1402895" y="725382"/>
                  </a:cubicBezTo>
                  <a:cubicBezTo>
                    <a:pt x="1402887" y="725307"/>
                    <a:pt x="1402880" y="725232"/>
                    <a:pt x="1402872" y="725157"/>
                  </a:cubicBezTo>
                  <a:lnTo>
                    <a:pt x="1403577" y="725157"/>
                  </a:lnTo>
                  <a:lnTo>
                    <a:pt x="1418291" y="579192"/>
                  </a:lnTo>
                  <a:cubicBezTo>
                    <a:pt x="1485930" y="248648"/>
                    <a:pt x="1778395" y="0"/>
                    <a:pt x="2128935" y="0"/>
                  </a:cubicBezTo>
                  <a:cubicBezTo>
                    <a:pt x="2529552" y="0"/>
                    <a:pt x="2854316" y="324764"/>
                    <a:pt x="2854316" y="725381"/>
                  </a:cubicBezTo>
                  <a:cubicBezTo>
                    <a:pt x="2854312" y="725456"/>
                    <a:pt x="2854309" y="725531"/>
                    <a:pt x="2854305" y="725606"/>
                  </a:cubicBezTo>
                  <a:lnTo>
                    <a:pt x="2853384" y="725606"/>
                  </a:lnTo>
                  <a:cubicBezTo>
                    <a:pt x="2853376" y="725531"/>
                    <a:pt x="2853369" y="725456"/>
                    <a:pt x="2853361" y="725381"/>
                  </a:cubicBezTo>
                  <a:cubicBezTo>
                    <a:pt x="2853369" y="725306"/>
                    <a:pt x="2853376" y="725231"/>
                    <a:pt x="2853384" y="725156"/>
                  </a:cubicBezTo>
                  <a:lnTo>
                    <a:pt x="2806425" y="725156"/>
                  </a:lnTo>
                  <a:lnTo>
                    <a:pt x="2792683" y="588839"/>
                  </a:lnTo>
                  <a:cubicBezTo>
                    <a:pt x="2729508" y="280107"/>
                    <a:pt x="2456343" y="47868"/>
                    <a:pt x="2128935" y="47868"/>
                  </a:cubicBezTo>
                  <a:cubicBezTo>
                    <a:pt x="1754755" y="47868"/>
                    <a:pt x="1451422" y="351201"/>
                    <a:pt x="1451422" y="725381"/>
                  </a:cubicBezTo>
                  <a:cubicBezTo>
                    <a:pt x="1451430" y="725456"/>
                    <a:pt x="1451437" y="725531"/>
                    <a:pt x="1451445" y="725606"/>
                  </a:cubicBezTo>
                  <a:lnTo>
                    <a:pt x="1450740" y="725606"/>
                  </a:lnTo>
                  <a:lnTo>
                    <a:pt x="1436026" y="871572"/>
                  </a:lnTo>
                  <a:cubicBezTo>
                    <a:pt x="1368387" y="1202116"/>
                    <a:pt x="1075922" y="1450763"/>
                    <a:pt x="725382" y="1450763"/>
                  </a:cubicBezTo>
                  <a:close/>
                </a:path>
              </a:pathLst>
            </a:custGeom>
            <a:gradFill>
              <a:gsLst>
                <a:gs pos="56000">
                  <a:schemeClr val="accent6"/>
                </a:gs>
                <a:gs pos="36000">
                  <a:schemeClr val="accent5"/>
                </a:gs>
                <a:gs pos="15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00" dirty="0">
                <a:solidFill>
                  <a:schemeClr val="bg1"/>
                </a:solidFill>
              </a:endParaRPr>
            </a:p>
          </p:txBody>
        </p:sp>
        <p:sp>
          <p:nvSpPr>
            <p:cNvPr id="22" name="Oval 21" descr="timeline endpoints">
              <a:extLst>
                <a:ext uri="{FF2B5EF4-FFF2-40B4-BE49-F238E27FC236}">
                  <a16:creationId xmlns:a16="http://schemas.microsoft.com/office/drawing/2014/main" id="{8D2BA49E-8E76-1626-C082-0F0B29E6A6C1}"/>
                </a:ext>
              </a:extLst>
            </p:cNvPr>
            <p:cNvSpPr/>
            <p:nvPr userDrawn="1"/>
          </p:nvSpPr>
          <p:spPr>
            <a:xfrm>
              <a:off x="8863102" y="1496310"/>
              <a:ext cx="137199" cy="137199"/>
            </a:xfrm>
            <a:prstGeom prst="ellipse">
              <a:avLst/>
            </a:prstGeom>
            <a:solidFill>
              <a:schemeClr val="accent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Oval 22" descr="timeline endpoints">
              <a:extLst>
                <a:ext uri="{FF2B5EF4-FFF2-40B4-BE49-F238E27FC236}">
                  <a16:creationId xmlns:a16="http://schemas.microsoft.com/office/drawing/2014/main" id="{870CE816-FC7D-CDF1-F5DD-D83DDC380C90}"/>
                </a:ext>
              </a:extLst>
            </p:cNvPr>
            <p:cNvSpPr/>
            <p:nvPr userDrawn="1"/>
          </p:nvSpPr>
          <p:spPr>
            <a:xfrm>
              <a:off x="8863102" y="4896331"/>
              <a:ext cx="137199" cy="137199"/>
            </a:xfrm>
            <a:prstGeom prst="ellipse">
              <a:avLst/>
            </a:pr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F44018C-13EE-748B-B820-E02F62C1B2B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60778" y="1990585"/>
            <a:ext cx="804672" cy="804672"/>
          </a:xfrm>
          <a:prstGeom prst="ellipse">
            <a:avLst/>
          </a:prstGeom>
          <a:ln w="38100">
            <a:solidFill>
              <a:schemeClr val="accent4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BAF4CB08-A110-AEA1-5307-2871FEE2CA1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60778" y="3136047"/>
            <a:ext cx="804672" cy="804672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9174361-1319-57DB-45D4-13BE0DB1827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60778" y="4270254"/>
            <a:ext cx="804672" cy="804672"/>
          </a:xfrm>
          <a:prstGeom prst="ellipse">
            <a:avLst/>
          </a:prstGeom>
          <a:ln w="38100">
            <a:solidFill>
              <a:schemeClr val="accent6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C5889C5B-72CA-D335-92AD-FCB9FEDAB85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60778" y="5404461"/>
            <a:ext cx="804672" cy="804672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14742123-85C4-4775-80AC-721BD7C162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23260" y="2057644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6" name="Text Placeholder 48">
            <a:extLst>
              <a:ext uri="{FF2B5EF4-FFF2-40B4-BE49-F238E27FC236}">
                <a16:creationId xmlns:a16="http://schemas.microsoft.com/office/drawing/2014/main" id="{F6AF03D4-E441-4447-876C-A1B030223E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23260" y="3196285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2" name="Text Placeholder 48">
            <a:extLst>
              <a:ext uri="{FF2B5EF4-FFF2-40B4-BE49-F238E27FC236}">
                <a16:creationId xmlns:a16="http://schemas.microsoft.com/office/drawing/2014/main" id="{563D0C18-5125-4D0F-B46D-76AE182B3F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23260" y="4339533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6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8" name="Text Placeholder 48">
            <a:extLst>
              <a:ext uri="{FF2B5EF4-FFF2-40B4-BE49-F238E27FC236}">
                <a16:creationId xmlns:a16="http://schemas.microsoft.com/office/drawing/2014/main" id="{120E072F-4FF5-422F-B7FD-BE3DF026010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23260" y="5513466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D7DE5D79-599D-DFB8-ABE9-922A0E8FCF9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23834" y="1990585"/>
            <a:ext cx="804672" cy="804672"/>
          </a:xfrm>
          <a:prstGeom prst="ellipse">
            <a:avLst/>
          </a:prstGeom>
          <a:ln w="38100">
            <a:solidFill>
              <a:schemeClr val="accent4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C3CA893D-4ACF-DFF1-9805-37620DBE00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223834" y="3136047"/>
            <a:ext cx="804672" cy="804672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1547E96D-DC67-55BA-2A08-4A74F1C63C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223834" y="4270254"/>
            <a:ext cx="804672" cy="804672"/>
          </a:xfrm>
          <a:prstGeom prst="ellipse">
            <a:avLst/>
          </a:prstGeom>
          <a:ln w="38100">
            <a:solidFill>
              <a:schemeClr val="accent6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FA1E7B28-3ADC-1890-14E4-6F9A13C95C0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223834" y="5404461"/>
            <a:ext cx="804672" cy="804672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2B649793-2AFC-43EE-8172-0EAB326F11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7487" y="2057644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8" name="Text Placeholder 48">
            <a:extLst>
              <a:ext uri="{FF2B5EF4-FFF2-40B4-BE49-F238E27FC236}">
                <a16:creationId xmlns:a16="http://schemas.microsoft.com/office/drawing/2014/main" id="{5B64A0D9-EA5C-4EC1-981A-0FD223A62F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47487" y="3196285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4" name="Text Placeholder 48">
            <a:extLst>
              <a:ext uri="{FF2B5EF4-FFF2-40B4-BE49-F238E27FC236}">
                <a16:creationId xmlns:a16="http://schemas.microsoft.com/office/drawing/2014/main" id="{54844B85-1B28-4340-AA8C-10A0C2A36C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7487" y="4339533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6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0" name="Text Placeholder 48">
            <a:extLst>
              <a:ext uri="{FF2B5EF4-FFF2-40B4-BE49-F238E27FC236}">
                <a16:creationId xmlns:a16="http://schemas.microsoft.com/office/drawing/2014/main" id="{C9938F8E-67A2-401C-882C-ED04C7E522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47487" y="5513466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373CF34-717A-BA57-91E4-2577FD317FE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38834" y="1990585"/>
            <a:ext cx="804672" cy="804672"/>
          </a:xfrm>
          <a:prstGeom prst="ellipse">
            <a:avLst/>
          </a:prstGeom>
          <a:ln w="38100">
            <a:solidFill>
              <a:schemeClr val="accent4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411A0259-BEF2-E04F-DD42-1C1A80D357D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838834" y="3136047"/>
            <a:ext cx="804672" cy="804672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44B6D202-4D05-9FD2-4B6F-3D8B92934EE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838834" y="4270254"/>
            <a:ext cx="804672" cy="804672"/>
          </a:xfrm>
          <a:prstGeom prst="ellipse">
            <a:avLst/>
          </a:prstGeom>
          <a:ln w="38100">
            <a:solidFill>
              <a:schemeClr val="accent6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11</a:t>
            </a:r>
          </a:p>
        </p:txBody>
      </p:sp>
      <p:sp>
        <p:nvSpPr>
          <p:cNvPr id="54" name="Text Placeholder 48">
            <a:extLst>
              <a:ext uri="{FF2B5EF4-FFF2-40B4-BE49-F238E27FC236}">
                <a16:creationId xmlns:a16="http://schemas.microsoft.com/office/drawing/2014/main" id="{58782C77-F426-4586-AF09-D07E1E8737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11817" y="2057644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48">
            <a:extLst>
              <a:ext uri="{FF2B5EF4-FFF2-40B4-BE49-F238E27FC236}">
                <a16:creationId xmlns:a16="http://schemas.microsoft.com/office/drawing/2014/main" id="{82EA5B58-66CC-4197-BAC3-D0A39558DB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1817" y="3196285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6" name="Text Placeholder 48">
            <a:extLst>
              <a:ext uri="{FF2B5EF4-FFF2-40B4-BE49-F238E27FC236}">
                <a16:creationId xmlns:a16="http://schemas.microsoft.com/office/drawing/2014/main" id="{D4D4EE7B-E029-47B3-BC18-D53E810711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817" y="4339533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6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98470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4">
          <p15:clr>
            <a:srgbClr val="FBAE40"/>
          </p15:clr>
        </p15:guide>
        <p15:guide id="2" pos="5112">
          <p15:clr>
            <a:srgbClr val="FBAE40"/>
          </p15:clr>
        </p15:guide>
        <p15:guide id="4" pos="5256">
          <p15:clr>
            <a:srgbClr val="5ACBF0"/>
          </p15:clr>
        </p15:guide>
        <p15:guide id="5" pos="4968">
          <p15:clr>
            <a:srgbClr val="5ACBF0"/>
          </p15:clr>
        </p15:guide>
        <p15:guide id="6" pos="2688">
          <p15:clr>
            <a:srgbClr val="5ACBF0"/>
          </p15:clr>
        </p15:guide>
        <p15:guide id="7" pos="2400">
          <p15:clr>
            <a:srgbClr val="5ACBF0"/>
          </p15:clr>
        </p15:guide>
        <p15:guide id="10" pos="144">
          <p15:clr>
            <a:srgbClr val="5ACBF0"/>
          </p15:clr>
        </p15:guide>
        <p15:guide id="11" orient="horz" pos="4176">
          <p15:clr>
            <a:srgbClr val="5ACBF0"/>
          </p15:clr>
        </p15:guide>
        <p15:guide id="12" pos="7536">
          <p15:clr>
            <a:srgbClr val="5ACBF0"/>
          </p15:clr>
        </p15:guide>
        <p15:guide id="13" orient="horz" pos="144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3B7B0B0-2AD9-766E-223A-F57DBBA78C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B7B0B0-2AD9-766E-223A-F57DBBA78C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2380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3F424-5D8A-4250-EE21-EEBA0D411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43A89-E440-A3CF-D2F9-10A2E0F5AB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282D94-20E9-F635-1D43-60A1F1CBF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7507B3-E7E8-4D18-6F62-396F5708E8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81A446-BE87-E011-9875-E950EC1E6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25225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A9F53-1631-77E3-B676-C908A0B67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CDBCE3-1D2B-83C5-E912-8DFE68F184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3D505D-1CA0-EB27-B0DC-97768AA1C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3E329D-FB1B-D85F-5952-E31ED43E9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518B8-5FD3-EBED-298C-9B66F26BD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88372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A199B-2C56-C534-CCDB-8F9D450CC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65E1E0-B870-0036-E6DF-AE8B0CF8C9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1C86E5-6094-7BB9-4585-34F809F1C8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592E67-D3A1-6E01-1156-7758B25F2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932E3-52FF-22DA-8FE8-8F230E67A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BFFCB0-CE45-81A5-E46A-CB2BB12DA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80105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CD4B3-735E-DBDA-FAD2-D62B4B97B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4B29AA-C1FD-55A8-C724-0E4C413236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E4BF03-19EF-644B-2FB5-524381E539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7175E4-EC78-EECC-F288-5814CAD8CF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55DECE-24D1-8054-A537-C02271804E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81B680-F002-C4AF-95C3-0B7E484DBD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4AF9C7-8627-3508-281A-044618B27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BEAAAA0-4AE9-BCD4-968B-DF4C7088D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83422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3116C-B1F2-A9A1-656C-D93C69CE1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65786E-45E6-C5A0-7DFE-9B00C782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7D7FCE-6CF5-8E22-97AC-85A1E8E73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9C9CE4-1A6E-AE6D-8B0C-2E841075E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776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05D95BE-5B59-2AD5-9029-198990729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9EC532-B2F1-D265-E3B6-8B517D771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59CBBA-93A7-0A7D-348B-7FD59BBC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626794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9EBA9-149D-7CE8-75AC-58B598BE8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FC2F5D-8322-BE1E-9F6C-A66EDC612E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BE8768-429B-6885-C2F8-0567D1E00A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B0C92-398F-101A-58AA-6DFE4B44F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9A46C5-56D9-EB89-144A-EC81D42E8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18E432-F492-51D7-F4AE-BB9EC70F6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99453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893ABE-FD1E-F956-993B-301536234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B5FB1E0-B89E-9624-6781-ABCAEC0CC2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88B504-CEB4-F255-6AA3-CFB2A7BA45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0F1FB3-1B4E-AA39-32FA-03DBCE730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65AA19-BBBD-BD70-21D7-6D8E802D1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D5F1C2-C3EC-E7EC-9923-ED4F854BC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705372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80B6F48-A0EC-271E-2BD6-68CCE9C00F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58939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2" imgH="392" progId="TCLayout.ActiveDocument.1">
                  <p:embed/>
                </p:oleObj>
              </mc:Choice>
              <mc:Fallback>
                <p:oleObj name="think-cell Slide" r:id="rId15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7F0B2B-17D4-6381-5F7D-85E411E72F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74D169-B780-F071-E4E7-59B7DD0945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0DF248-1925-723B-4EBD-293D5924A7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7BD7E54-E585-4B95-B3B7-8C61C3C5DC6A}" type="datetimeFigureOut">
              <a:rPr lang="en-AU" smtClean="0"/>
              <a:t>27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03E355-E69B-FFDF-4DE9-6195193B31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0CE74D-4F48-DF89-204D-816B40A54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82D5D0-F07B-6AC6-00F3-D77DF54CC31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2425772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67DA26A-BA9F-38EB-30DE-1276C2F4D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7DA26A-BA9F-38EB-30DE-1276C2F4D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97ACED-B93B-6590-9ADF-5D9E55B52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84FD0B-F48C-3304-B88A-E62745DCDA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710B1-F3D5-1D85-C17A-6A25D6BA74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637DA6C-DCEA-41B9-90BF-9890E28A91BB}" type="datetimeFigureOut">
              <a:rPr lang="en-US" smtClean="0"/>
              <a:t>8/2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60E141-4F30-35E9-F9F9-05D7E95330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EA4E3B-DCA9-AD87-8CFC-1F65996019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0DBCE37-2223-45FE-9B45-243B3156C97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C8C57F-35AB-D0E1-AFA5-4DAA791DC4DE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3699277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microsoft.com/office/2018/10/relationships/comments" Target="../comments/modernComment_124_48B4857C.xml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165009-A386-8DC8-05B3-BA2344125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621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Rolls of Newspaper">
            <a:extLst>
              <a:ext uri="{FF2B5EF4-FFF2-40B4-BE49-F238E27FC236}">
                <a16:creationId xmlns:a16="http://schemas.microsoft.com/office/drawing/2014/main" id="{1FA3E685-22C8-8B83-98D8-A6E5EA666B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  <a:solidFill>
            <a:srgbClr val="FF0000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8E8B46-0C08-F11B-D9D0-047F27C21D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3610" y="406400"/>
            <a:ext cx="9144000" cy="1374899"/>
          </a:xfrm>
          <a:solidFill>
            <a:schemeClr val="tx1"/>
          </a:solidFill>
        </p:spPr>
        <p:txBody>
          <a:bodyPr vert="horz" anchor="ctr"/>
          <a:lstStyle/>
          <a:p>
            <a:r>
              <a:rPr lang="en-AU" dirty="0">
                <a:solidFill>
                  <a:schemeClr val="bg1"/>
                </a:solidFill>
                <a:latin typeface="Posterama" panose="020B0502040204020203" pitchFamily="34" charset="0"/>
                <a:cs typeface="Posterama" panose="020B0502040204020203" pitchFamily="34" charset="0"/>
              </a:rPr>
              <a:t>FAKE NEWS DETECTIVE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B497E8-EBA3-662C-ACA4-01C96E855A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53610" y="1389624"/>
            <a:ext cx="9144000" cy="1104716"/>
          </a:xfrm>
        </p:spPr>
        <p:txBody>
          <a:bodyPr anchor="b">
            <a:normAutofit/>
          </a:bodyPr>
          <a:lstStyle/>
          <a:p>
            <a:r>
              <a:rPr lang="en-AU" sz="4800" b="1" dirty="0">
                <a:effectLst>
                  <a:outerShdw blurRad="139700" dist="38100" dir="2700000" algn="tl" rotWithShape="0">
                    <a:schemeClr val="bg1">
                      <a:alpha val="91000"/>
                    </a:schemeClr>
                  </a:outerShdw>
                </a:effectLst>
              </a:rPr>
              <a:t>Can you read between the lines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1BDCFC-9448-CE7A-721F-29FF9F0DF35B}"/>
              </a:ext>
            </a:extLst>
          </p:cNvPr>
          <p:cNvSpPr/>
          <p:nvPr/>
        </p:nvSpPr>
        <p:spPr>
          <a:xfrm>
            <a:off x="0" y="4808079"/>
            <a:ext cx="12192000" cy="2049920"/>
          </a:xfrm>
          <a:prstGeom prst="rect">
            <a:avLst/>
          </a:prstGeom>
          <a:solidFill>
            <a:schemeClr val="tx1">
              <a:alpha val="33000"/>
            </a:scheme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 descr="Detective female outline">
            <a:extLst>
              <a:ext uri="{FF2B5EF4-FFF2-40B4-BE49-F238E27FC236}">
                <a16:creationId xmlns:a16="http://schemas.microsoft.com/office/drawing/2014/main" id="{FDF896F7-5891-6A41-87CB-232A89796E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69371" y="4888812"/>
            <a:ext cx="2049921" cy="2049921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92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4722EB5-BEF1-16AB-321B-71C84D96C57E}"/>
              </a:ext>
            </a:extLst>
          </p:cNvPr>
          <p:cNvSpPr txBox="1"/>
          <p:nvPr/>
        </p:nvSpPr>
        <p:spPr>
          <a:xfrm>
            <a:off x="7617536" y="5046229"/>
            <a:ext cx="448572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</a:rPr>
              <a:t>TEAM SLEUTH</a:t>
            </a:r>
          </a:p>
          <a:p>
            <a:pPr algn="r"/>
            <a:r>
              <a:rPr lang="en-AU" sz="2000" dirty="0">
                <a:solidFill>
                  <a:schemeClr val="bg1"/>
                </a:solidFill>
              </a:rPr>
              <a:t>Uthpalie Thilakaratna-Attygalle</a:t>
            </a:r>
          </a:p>
          <a:p>
            <a:pPr algn="r"/>
            <a:r>
              <a:rPr lang="en-AU" sz="2000" dirty="0">
                <a:solidFill>
                  <a:schemeClr val="bg1"/>
                </a:solidFill>
              </a:rPr>
              <a:t>Sindhuja Sirigeri</a:t>
            </a:r>
          </a:p>
          <a:p>
            <a:pPr algn="r"/>
            <a:r>
              <a:rPr lang="en-AU" sz="2000" dirty="0">
                <a:solidFill>
                  <a:schemeClr val="bg1"/>
                </a:solidFill>
              </a:rPr>
              <a:t>Tammy Powell</a:t>
            </a:r>
          </a:p>
          <a:p>
            <a:pPr algn="r"/>
            <a:r>
              <a:rPr lang="en-AU" sz="2000" dirty="0">
                <a:solidFill>
                  <a:schemeClr val="bg1"/>
                </a:solidFill>
              </a:rPr>
              <a:t>Wendy Ware</a:t>
            </a:r>
          </a:p>
        </p:txBody>
      </p:sp>
    </p:spTree>
    <p:extLst>
      <p:ext uri="{BB962C8B-B14F-4D97-AF65-F5344CB8AC3E}">
        <p14:creationId xmlns:p14="http://schemas.microsoft.com/office/powerpoint/2010/main" val="2893999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1AE09C8-43E5-1907-4ACF-704E4494BF2D}"/>
              </a:ext>
            </a:extLst>
          </p:cNvPr>
          <p:cNvSpPr txBox="1"/>
          <p:nvPr/>
        </p:nvSpPr>
        <p:spPr>
          <a:xfrm>
            <a:off x="741396" y="420856"/>
            <a:ext cx="6842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FAKE NEWS Predictor  &gt; the App unveiled using Streamlit.io</a:t>
            </a:r>
          </a:p>
        </p:txBody>
      </p:sp>
      <p:pic>
        <p:nvPicPr>
          <p:cNvPr id="1026" name="Picture 2" descr="Streamlit logo">
            <a:extLst>
              <a:ext uri="{FF2B5EF4-FFF2-40B4-BE49-F238E27FC236}">
                <a16:creationId xmlns:a16="http://schemas.microsoft.com/office/drawing/2014/main" id="{FD6B45EF-0D1E-1597-209E-8482F66400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5228" y="-162312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1958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137827B-CE2E-B0A1-A5C5-8B8311E18A54}"/>
              </a:ext>
            </a:extLst>
          </p:cNvPr>
          <p:cNvSpPr txBox="1"/>
          <p:nvPr/>
        </p:nvSpPr>
        <p:spPr>
          <a:xfrm>
            <a:off x="740780" y="613458"/>
            <a:ext cx="1258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e Magic </a:t>
            </a:r>
          </a:p>
        </p:txBody>
      </p:sp>
      <p:pic>
        <p:nvPicPr>
          <p:cNvPr id="4" name="Graphic 3" descr="Magic Wand Auto with solid fill">
            <a:extLst>
              <a:ext uri="{FF2B5EF4-FFF2-40B4-BE49-F238E27FC236}">
                <a16:creationId xmlns:a16="http://schemas.microsoft.com/office/drawing/2014/main" id="{39D61A37-57D2-C0D8-9682-4E511BB825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3407" y="340924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D2A28AB-8913-7F0B-4042-DDC89E77DCD0}"/>
              </a:ext>
            </a:extLst>
          </p:cNvPr>
          <p:cNvSpPr txBox="1"/>
          <p:nvPr/>
        </p:nvSpPr>
        <p:spPr>
          <a:xfrm>
            <a:off x="2707473" y="428792"/>
            <a:ext cx="2523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Our Process uncovered </a:t>
            </a:r>
          </a:p>
        </p:txBody>
      </p:sp>
    </p:spTree>
    <p:extLst>
      <p:ext uri="{BB962C8B-B14F-4D97-AF65-F5344CB8AC3E}">
        <p14:creationId xmlns:p14="http://schemas.microsoft.com/office/powerpoint/2010/main" val="3099477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9A4D28-06FD-5970-0756-778443982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232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9A4D28-06FD-5970-0756-778443982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12E967A8-FD35-DE6E-C15B-95EF0B7508D3}"/>
              </a:ext>
            </a:extLst>
          </p:cNvPr>
          <p:cNvGrpSpPr/>
          <p:nvPr/>
        </p:nvGrpSpPr>
        <p:grpSpPr>
          <a:xfrm>
            <a:off x="150598" y="1372070"/>
            <a:ext cx="11799363" cy="5094290"/>
            <a:chOff x="196318" y="800570"/>
            <a:chExt cx="11799363" cy="5094290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DDFC34D8-D194-EB11-9FA8-5966E10D65A9}"/>
                </a:ext>
              </a:extLst>
            </p:cNvPr>
            <p:cNvSpPr/>
            <p:nvPr/>
          </p:nvSpPr>
          <p:spPr>
            <a:xfrm>
              <a:off x="5313346" y="800570"/>
              <a:ext cx="6682335" cy="2576843"/>
            </a:xfrm>
            <a:prstGeom prst="roundRect">
              <a:avLst>
                <a:gd name="adj" fmla="val 210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048" name="Rectangle: Rounded Corners 1047">
              <a:extLst>
                <a:ext uri="{FF2B5EF4-FFF2-40B4-BE49-F238E27FC236}">
                  <a16:creationId xmlns:a16="http://schemas.microsoft.com/office/drawing/2014/main" id="{ED28C9F9-D923-1AB3-D814-23B6CD7ABDD0}"/>
                </a:ext>
              </a:extLst>
            </p:cNvPr>
            <p:cNvSpPr/>
            <p:nvPr/>
          </p:nvSpPr>
          <p:spPr>
            <a:xfrm>
              <a:off x="5370291" y="861400"/>
              <a:ext cx="6560044" cy="2448776"/>
            </a:xfrm>
            <a:prstGeom prst="roundRect">
              <a:avLst>
                <a:gd name="adj" fmla="val 210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1DB5E596-44B9-4064-85A7-E3A36A4E1CF6}"/>
                </a:ext>
              </a:extLst>
            </p:cNvPr>
            <p:cNvSpPr/>
            <p:nvPr/>
          </p:nvSpPr>
          <p:spPr>
            <a:xfrm>
              <a:off x="1722254" y="2454470"/>
              <a:ext cx="2373678" cy="612744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Data Extract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8E54088A-129B-13C7-7548-3522885B061E}"/>
                </a:ext>
              </a:extLst>
            </p:cNvPr>
            <p:cNvSpPr/>
            <p:nvPr/>
          </p:nvSpPr>
          <p:spPr>
            <a:xfrm>
              <a:off x="4183452" y="1604245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E89756">
                      <a:lumMod val="50000"/>
                    </a:srgbClr>
                  </a:solidFill>
                  <a:latin typeface="Calibri Light"/>
                </a:rPr>
                <a:t>Pre-process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89756">
                    <a:lumMod val="50000"/>
                  </a:srgbClr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DC8969C3-EE00-E169-AB38-9FDE5C95D901}"/>
                </a:ext>
              </a:extLst>
            </p:cNvPr>
            <p:cNvSpPr/>
            <p:nvPr/>
          </p:nvSpPr>
          <p:spPr>
            <a:xfrm>
              <a:off x="9449042" y="2454470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Vectorise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1D2D000B-B9B2-11FB-27FF-4648A4227420}"/>
                </a:ext>
              </a:extLst>
            </p:cNvPr>
            <p:cNvSpPr/>
            <p:nvPr/>
          </p:nvSpPr>
          <p:spPr>
            <a:xfrm>
              <a:off x="9449042" y="4075892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Feature Engineer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59E8AD8-E9D8-C655-D93A-DF705DEA7D24}"/>
                </a:ext>
              </a:extLst>
            </p:cNvPr>
            <p:cNvSpPr/>
            <p:nvPr/>
          </p:nvSpPr>
          <p:spPr>
            <a:xfrm>
              <a:off x="6699246" y="5125120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Model &amp; Optimise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DAC30D3-F27A-007F-339C-FC18FBB9A055}"/>
                </a:ext>
              </a:extLst>
            </p:cNvPr>
            <p:cNvSpPr/>
            <p:nvPr/>
          </p:nvSpPr>
          <p:spPr>
            <a:xfrm>
              <a:off x="196318" y="5282115"/>
              <a:ext cx="2373678" cy="61274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</a:rPr>
                <a:t>Publish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8D00632-71E5-65A0-80E6-0718F5BC68CE}"/>
                </a:ext>
              </a:extLst>
            </p:cNvPr>
            <p:cNvSpPr/>
            <p:nvPr/>
          </p:nvSpPr>
          <p:spPr>
            <a:xfrm>
              <a:off x="1722254" y="4075892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App Deploy</a:t>
              </a:r>
            </a:p>
          </p:txBody>
        </p: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269714C1-49D2-A58D-C8B3-4D69968EF994}"/>
                </a:ext>
              </a:extLst>
            </p:cNvPr>
            <p:cNvCxnSpPr>
              <a:cxnSpLocks/>
              <a:endCxn id="12" idx="0"/>
            </p:cNvCxnSpPr>
            <p:nvPr/>
          </p:nvCxnSpPr>
          <p:spPr>
            <a:xfrm>
              <a:off x="9072925" y="1910619"/>
              <a:ext cx="1562956" cy="543851"/>
            </a:xfrm>
            <a:prstGeom prst="curvedConnector2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cxnSp>
          <p:nvCxnSpPr>
            <p:cNvPr id="18" name="Connector: Curved 17">
              <a:extLst>
                <a:ext uri="{FF2B5EF4-FFF2-40B4-BE49-F238E27FC236}">
                  <a16:creationId xmlns:a16="http://schemas.microsoft.com/office/drawing/2014/main" id="{E57E7652-6684-D10D-8596-C8DDA8D3D2EF}"/>
                </a:ext>
              </a:extLst>
            </p:cNvPr>
            <p:cNvCxnSpPr>
              <a:cxnSpLocks/>
              <a:stCxn id="13" idx="2"/>
              <a:endCxn id="14" idx="3"/>
            </p:cNvCxnSpPr>
            <p:nvPr/>
          </p:nvCxnSpPr>
          <p:spPr>
            <a:xfrm rot="5400000">
              <a:off x="9482975" y="4278587"/>
              <a:ext cx="742856" cy="1562957"/>
            </a:xfrm>
            <a:prstGeom prst="curvedConnector2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15B32D16-BDE7-DE24-C764-69DB4E74F508}"/>
                </a:ext>
              </a:extLst>
            </p:cNvPr>
            <p:cNvCxnSpPr>
              <a:stCxn id="12" idx="2"/>
              <a:endCxn id="13" idx="0"/>
            </p:cNvCxnSpPr>
            <p:nvPr/>
          </p:nvCxnSpPr>
          <p:spPr>
            <a:xfrm>
              <a:off x="10635881" y="3067215"/>
              <a:ext cx="0" cy="1008677"/>
            </a:xfrm>
            <a:prstGeom prst="straightConnector1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cxnSp>
          <p:nvCxnSpPr>
            <p:cNvPr id="20" name="Connector: Curved 19">
              <a:extLst>
                <a:ext uri="{FF2B5EF4-FFF2-40B4-BE49-F238E27FC236}">
                  <a16:creationId xmlns:a16="http://schemas.microsoft.com/office/drawing/2014/main" id="{3E1CDEF8-4807-5F9C-8146-DF3BA1417B9B}"/>
                </a:ext>
              </a:extLst>
            </p:cNvPr>
            <p:cNvCxnSpPr>
              <a:cxnSpLocks/>
              <a:stCxn id="7" idx="1"/>
              <a:endCxn id="16" idx="2"/>
            </p:cNvCxnSpPr>
            <p:nvPr/>
          </p:nvCxnSpPr>
          <p:spPr>
            <a:xfrm rot="10800000">
              <a:off x="2909094" y="4688637"/>
              <a:ext cx="1246927" cy="727028"/>
            </a:xfrm>
            <a:prstGeom prst="curvedConnector2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cxnSp>
          <p:nvCxnSpPr>
            <p:cNvPr id="22" name="Connector: Curved 21">
              <a:extLst>
                <a:ext uri="{FF2B5EF4-FFF2-40B4-BE49-F238E27FC236}">
                  <a16:creationId xmlns:a16="http://schemas.microsoft.com/office/drawing/2014/main" id="{7957C499-B9E4-FF19-841A-6A828F16BB70}"/>
                </a:ext>
              </a:extLst>
            </p:cNvPr>
            <p:cNvCxnSpPr>
              <a:cxnSpLocks/>
              <a:stCxn id="10" idx="0"/>
              <a:endCxn id="11" idx="1"/>
            </p:cNvCxnSpPr>
            <p:nvPr/>
          </p:nvCxnSpPr>
          <p:spPr>
            <a:xfrm rot="5400000" flipH="1" flipV="1">
              <a:off x="3274346" y="1545365"/>
              <a:ext cx="543852" cy="1274359"/>
            </a:xfrm>
            <a:prstGeom prst="curvedConnector2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F6F418E-52E2-252B-D267-94D3DF6FC084}"/>
                </a:ext>
              </a:extLst>
            </p:cNvPr>
            <p:cNvSpPr/>
            <p:nvPr/>
          </p:nvSpPr>
          <p:spPr>
            <a:xfrm>
              <a:off x="1383157" y="2563864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248629B-384D-D64F-D137-D1CCD52789AB}"/>
                </a:ext>
              </a:extLst>
            </p:cNvPr>
            <p:cNvSpPr/>
            <p:nvPr/>
          </p:nvSpPr>
          <p:spPr>
            <a:xfrm>
              <a:off x="5148653" y="1342358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B0BE382-FABB-EE88-3489-B0E3D9382C55}"/>
                </a:ext>
              </a:extLst>
            </p:cNvPr>
            <p:cNvSpPr/>
            <p:nvPr/>
          </p:nvSpPr>
          <p:spPr>
            <a:xfrm>
              <a:off x="9109945" y="2563864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4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0B4B544-E7DD-25F3-D0F8-10E1F665B4C0}"/>
                </a:ext>
              </a:extLst>
            </p:cNvPr>
            <p:cNvSpPr/>
            <p:nvPr/>
          </p:nvSpPr>
          <p:spPr>
            <a:xfrm>
              <a:off x="9197869" y="4188210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5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1EC427D-36D8-211F-4E62-C69D192573A4}"/>
                </a:ext>
              </a:extLst>
            </p:cNvPr>
            <p:cNvSpPr/>
            <p:nvPr/>
          </p:nvSpPr>
          <p:spPr>
            <a:xfrm>
              <a:off x="7661154" y="4836862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6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A4D5CF6-8CA2-DBBE-80FA-DB5DBB954298}"/>
                </a:ext>
              </a:extLst>
            </p:cNvPr>
            <p:cNvSpPr/>
            <p:nvPr/>
          </p:nvSpPr>
          <p:spPr>
            <a:xfrm>
              <a:off x="1354774" y="4159063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8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5C33906B-7246-246E-5C00-767C6AC373DE}"/>
                </a:ext>
              </a:extLst>
            </p:cNvPr>
            <p:cNvSpPr/>
            <p:nvPr/>
          </p:nvSpPr>
          <p:spPr>
            <a:xfrm>
              <a:off x="196318" y="1323719"/>
              <a:ext cx="2373678" cy="612745"/>
            </a:xfrm>
            <a:prstGeom prst="roundRect">
              <a:avLst/>
            </a:prstGeom>
            <a:solidFill>
              <a:srgbClr val="A53F51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A53F51">
                      <a:lumMod val="50000"/>
                    </a:srgbClr>
                  </a:solidFill>
                  <a:latin typeface="Calibri Light"/>
                </a:rPr>
                <a:t>kaggle.com</a:t>
              </a:r>
              <a:endPara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A53F51">
                    <a:lumMod val="50000"/>
                  </a:srgbClr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" name="Arrow: Bent 31">
              <a:extLst>
                <a:ext uri="{FF2B5EF4-FFF2-40B4-BE49-F238E27FC236}">
                  <a16:creationId xmlns:a16="http://schemas.microsoft.com/office/drawing/2014/main" id="{61682EE7-875A-E067-80EF-CF3AEC7A51DE}"/>
                </a:ext>
              </a:extLst>
            </p:cNvPr>
            <p:cNvSpPr/>
            <p:nvPr/>
          </p:nvSpPr>
          <p:spPr>
            <a:xfrm flipV="1">
              <a:off x="856896" y="2026148"/>
              <a:ext cx="447488" cy="837414"/>
            </a:xfrm>
            <a:prstGeom prst="bentArrow">
              <a:avLst/>
            </a:prstGeom>
            <a:solidFill>
              <a:srgbClr val="E89756">
                <a:lumMod val="50000"/>
              </a:srgbClr>
            </a:solidFill>
            <a:ln w="19050" cap="flat" cmpd="sng" algn="ctr">
              <a:solidFill>
                <a:srgbClr val="A53F51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Arrow: Bent 33">
              <a:extLst>
                <a:ext uri="{FF2B5EF4-FFF2-40B4-BE49-F238E27FC236}">
                  <a16:creationId xmlns:a16="http://schemas.microsoft.com/office/drawing/2014/main" id="{B8291438-655A-C0ED-B19B-E9C533CF53E4}"/>
                </a:ext>
              </a:extLst>
            </p:cNvPr>
            <p:cNvSpPr/>
            <p:nvPr/>
          </p:nvSpPr>
          <p:spPr>
            <a:xfrm rot="16200000" flipH="1">
              <a:off x="611132" y="4476953"/>
              <a:ext cx="837414" cy="504714"/>
            </a:xfrm>
            <a:prstGeom prst="bentArrow">
              <a:avLst/>
            </a:prstGeom>
            <a:solidFill>
              <a:srgbClr val="435369">
                <a:lumMod val="50000"/>
              </a:srgbClr>
            </a:solidFill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sz="1600" kern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6D189FD-3A04-BBB8-8AFF-12AF0ED28B3C}"/>
                </a:ext>
              </a:extLst>
            </p:cNvPr>
            <p:cNvSpPr/>
            <p:nvPr/>
          </p:nvSpPr>
          <p:spPr>
            <a:xfrm>
              <a:off x="4156020" y="5109292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App Develop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AB44F2DF-2234-1102-5904-D81C28F67698}"/>
                </a:ext>
              </a:extLst>
            </p:cNvPr>
            <p:cNvSpPr/>
            <p:nvPr/>
          </p:nvSpPr>
          <p:spPr>
            <a:xfrm>
              <a:off x="5034228" y="4807606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22DB39C4-D05D-EDEB-7B68-27BDACFBA62B}"/>
                </a:ext>
              </a:extLst>
            </p:cNvPr>
            <p:cNvSpPr/>
            <p:nvPr/>
          </p:nvSpPr>
          <p:spPr>
            <a:xfrm>
              <a:off x="6716182" y="1605404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Transform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2DB29E6-81AD-C66A-6874-55A2E6921287}"/>
                </a:ext>
              </a:extLst>
            </p:cNvPr>
            <p:cNvSpPr/>
            <p:nvPr/>
          </p:nvSpPr>
          <p:spPr>
            <a:xfrm>
              <a:off x="7678090" y="1370364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3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pic>
          <p:nvPicPr>
            <p:cNvPr id="1034" name="Picture 10" descr="Streamlit logo on light background">
              <a:extLst>
                <a:ext uri="{FF2B5EF4-FFF2-40B4-BE49-F238E27FC236}">
                  <a16:creationId xmlns:a16="http://schemas.microsoft.com/office/drawing/2014/main" id="{98AC7C12-3FD0-FDF9-8804-D53EC62BAB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0600" y="3946525"/>
              <a:ext cx="3259087" cy="904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E98C15B3-7523-BE04-DB16-3BC2CE153374}"/>
                </a:ext>
              </a:extLst>
            </p:cNvPr>
            <p:cNvSpPr/>
            <p:nvPr/>
          </p:nvSpPr>
          <p:spPr>
            <a:xfrm>
              <a:off x="5030600" y="2480289"/>
              <a:ext cx="1340998" cy="134099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48" name="Picture 14">
              <a:extLst>
                <a:ext uri="{FF2B5EF4-FFF2-40B4-BE49-F238E27FC236}">
                  <a16:creationId xmlns:a16="http://schemas.microsoft.com/office/drawing/2014/main" id="{F63CC972-0FCE-1563-16F0-A8E684CD41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034" y="2511576"/>
              <a:ext cx="1310811" cy="13108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5E8B17C-39DF-EA83-37CC-593DC46AEF12}"/>
                </a:ext>
              </a:extLst>
            </p:cNvPr>
            <p:cNvSpPr/>
            <p:nvPr/>
          </p:nvSpPr>
          <p:spPr>
            <a:xfrm>
              <a:off x="6767185" y="2547202"/>
              <a:ext cx="1284790" cy="885463"/>
            </a:xfrm>
            <a:custGeom>
              <a:avLst/>
              <a:gdLst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84790" h="885463">
                  <a:moveTo>
                    <a:pt x="34724" y="873889"/>
                  </a:moveTo>
                  <a:lnTo>
                    <a:pt x="0" y="544010"/>
                  </a:lnTo>
                  <a:cubicBezTo>
                    <a:pt x="5787" y="455271"/>
                    <a:pt x="20256" y="384858"/>
                    <a:pt x="69448" y="341453"/>
                  </a:cubicBezTo>
                  <a:cubicBezTo>
                    <a:pt x="118640" y="298048"/>
                    <a:pt x="257536" y="322162"/>
                    <a:pt x="295154" y="283580"/>
                  </a:cubicBezTo>
                  <a:cubicBezTo>
                    <a:pt x="295154" y="225707"/>
                    <a:pt x="277056" y="138306"/>
                    <a:pt x="295154" y="109960"/>
                  </a:cubicBezTo>
                  <a:cubicBezTo>
                    <a:pt x="313252" y="81614"/>
                    <a:pt x="306728" y="76200"/>
                    <a:pt x="353027" y="57873"/>
                  </a:cubicBezTo>
                  <a:lnTo>
                    <a:pt x="572946" y="0"/>
                  </a:lnTo>
                  <a:lnTo>
                    <a:pt x="763929" y="11575"/>
                  </a:lnTo>
                  <a:cubicBezTo>
                    <a:pt x="819873" y="24114"/>
                    <a:pt x="885331" y="59441"/>
                    <a:pt x="908612" y="75235"/>
                  </a:cubicBezTo>
                  <a:cubicBezTo>
                    <a:pt x="931893" y="91029"/>
                    <a:pt x="957805" y="234387"/>
                    <a:pt x="966486" y="277792"/>
                  </a:cubicBezTo>
                  <a:lnTo>
                    <a:pt x="960698" y="335666"/>
                  </a:lnTo>
                  <a:lnTo>
                    <a:pt x="1111169" y="335666"/>
                  </a:lnTo>
                  <a:cubicBezTo>
                    <a:pt x="1152645" y="343382"/>
                    <a:pt x="1183474" y="363446"/>
                    <a:pt x="1209554" y="381965"/>
                  </a:cubicBezTo>
                  <a:cubicBezTo>
                    <a:pt x="1235634" y="400484"/>
                    <a:pt x="1272251" y="488066"/>
                    <a:pt x="1284790" y="538223"/>
                  </a:cubicBezTo>
                  <a:lnTo>
                    <a:pt x="1284790" y="682906"/>
                  </a:lnTo>
                  <a:lnTo>
                    <a:pt x="1261640" y="885463"/>
                  </a:lnTo>
                  <a:lnTo>
                    <a:pt x="34724" y="8738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50" name="Picture 3">
              <a:extLst>
                <a:ext uri="{FF2B5EF4-FFF2-40B4-BE49-F238E27FC236}">
                  <a16:creationId xmlns:a16="http://schemas.microsoft.com/office/drawing/2014/main" id="{37313B75-AE83-8953-CBEC-1DD9E05C07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5811" y="2534168"/>
              <a:ext cx="1336465" cy="13364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50" name="Rectangle: Rounded Corners 1049">
              <a:extLst>
                <a:ext uri="{FF2B5EF4-FFF2-40B4-BE49-F238E27FC236}">
                  <a16:creationId xmlns:a16="http://schemas.microsoft.com/office/drawing/2014/main" id="{BEFFF0BC-507A-F529-3B2A-06269EFCC77F}"/>
                </a:ext>
              </a:extLst>
            </p:cNvPr>
            <p:cNvSpPr/>
            <p:nvPr/>
          </p:nvSpPr>
          <p:spPr>
            <a:xfrm>
              <a:off x="10188841" y="862239"/>
              <a:ext cx="1742395" cy="589345"/>
            </a:xfrm>
            <a:prstGeom prst="roundRect">
              <a:avLst>
                <a:gd name="adj" fmla="val 10295"/>
              </a:avLst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kern="0" dirty="0">
                  <a:solidFill>
                    <a:schemeClr val="bg1"/>
                  </a:solidFill>
                  <a:latin typeface="Calibri Light"/>
                </a:rPr>
                <a:t>Exploratory Data Analysis</a:t>
              </a:r>
            </a:p>
          </p:txBody>
        </p:sp>
      </p:grpSp>
      <p:sp>
        <p:nvSpPr>
          <p:cNvPr id="1051" name="Title 1">
            <a:extLst>
              <a:ext uri="{FF2B5EF4-FFF2-40B4-BE49-F238E27FC236}">
                <a16:creationId xmlns:a16="http://schemas.microsoft.com/office/drawing/2014/main" id="{37DE3076-9797-CCEB-F93E-873A01351701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The Process</a:t>
            </a:r>
          </a:p>
        </p:txBody>
      </p:sp>
      <p:sp>
        <p:nvSpPr>
          <p:cNvPr id="1053" name="Rectangle: Rounded Corners 1052">
            <a:extLst>
              <a:ext uri="{FF2B5EF4-FFF2-40B4-BE49-F238E27FC236}">
                <a16:creationId xmlns:a16="http://schemas.microsoft.com/office/drawing/2014/main" id="{7270A9C1-3C8F-2581-D67B-1C85E88E9FED}"/>
              </a:ext>
            </a:extLst>
          </p:cNvPr>
          <p:cNvSpPr/>
          <p:nvPr/>
        </p:nvSpPr>
        <p:spPr>
          <a:xfrm>
            <a:off x="150598" y="1115666"/>
            <a:ext cx="2373678" cy="612745"/>
          </a:xfrm>
          <a:prstGeom prst="roundRect">
            <a:avLst/>
          </a:prstGeom>
          <a:solidFill>
            <a:srgbClr val="05043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dirty="0">
                <a:solidFill>
                  <a:schemeClr val="bg1"/>
                </a:solidFill>
                <a:latin typeface="Calibri Light"/>
              </a:rPr>
              <a:t>Ideation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6680741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9A4D28-06FD-5970-0756-778443982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550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9A4D28-06FD-5970-0756-778443982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1" name="Title 1">
            <a:extLst>
              <a:ext uri="{FF2B5EF4-FFF2-40B4-BE49-F238E27FC236}">
                <a16:creationId xmlns:a16="http://schemas.microsoft.com/office/drawing/2014/main" id="{37DE3076-9797-CCEB-F93E-873A01351701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The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DCDE80-1BEA-8DCE-E985-1CBD9A2083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27" y="4612326"/>
            <a:ext cx="10170469" cy="20713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6128661-A096-AAD7-5F5D-4CF4807E873B}"/>
              </a:ext>
            </a:extLst>
          </p:cNvPr>
          <p:cNvSpPr/>
          <p:nvPr/>
        </p:nvSpPr>
        <p:spPr>
          <a:xfrm>
            <a:off x="9703636" y="5026596"/>
            <a:ext cx="2329489" cy="955960"/>
          </a:xfrm>
          <a:prstGeom prst="rect">
            <a:avLst/>
          </a:prstGeom>
          <a:solidFill>
            <a:srgbClr val="92D050">
              <a:alpha val="25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2C7D87-FAF6-867B-3702-BBC051D46801}"/>
              </a:ext>
            </a:extLst>
          </p:cNvPr>
          <p:cNvSpPr/>
          <p:nvPr/>
        </p:nvSpPr>
        <p:spPr>
          <a:xfrm>
            <a:off x="9703635" y="6373966"/>
            <a:ext cx="2329489" cy="309662"/>
          </a:xfrm>
          <a:prstGeom prst="rect">
            <a:avLst/>
          </a:prstGeom>
          <a:solidFill>
            <a:srgbClr val="92D050">
              <a:alpha val="25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FA9BB2-8CA1-D244-8C15-CE29B340E123}"/>
              </a:ext>
            </a:extLst>
          </p:cNvPr>
          <p:cNvSpPr txBox="1"/>
          <p:nvPr/>
        </p:nvSpPr>
        <p:spPr>
          <a:xfrm>
            <a:off x="10434039" y="5389690"/>
            <a:ext cx="1323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al Ne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128661-A096-AAD7-5F5D-4CF4807E873B}"/>
              </a:ext>
            </a:extLst>
          </p:cNvPr>
          <p:cNvSpPr/>
          <p:nvPr/>
        </p:nvSpPr>
        <p:spPr>
          <a:xfrm>
            <a:off x="9703635" y="6026833"/>
            <a:ext cx="2329489" cy="308657"/>
          </a:xfrm>
          <a:prstGeom prst="rect">
            <a:avLst/>
          </a:prstGeom>
          <a:solidFill>
            <a:srgbClr val="FF6D6D">
              <a:alpha val="25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7FA9BB2-8CA1-D244-8C15-CE29B340E123}"/>
              </a:ext>
            </a:extLst>
          </p:cNvPr>
          <p:cNvSpPr txBox="1"/>
          <p:nvPr/>
        </p:nvSpPr>
        <p:spPr>
          <a:xfrm>
            <a:off x="10434039" y="5994349"/>
            <a:ext cx="1424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ake News</a:t>
            </a:r>
            <a:endParaRPr lang="en-US" dirty="0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A15A945-882A-F051-F03D-EF6FF5D20A2B}"/>
              </a:ext>
            </a:extLst>
          </p:cNvPr>
          <p:cNvGrpSpPr/>
          <p:nvPr/>
        </p:nvGrpSpPr>
        <p:grpSpPr>
          <a:xfrm>
            <a:off x="305019" y="1060515"/>
            <a:ext cx="4480560" cy="3445999"/>
            <a:chOff x="3683452" y="1060515"/>
            <a:chExt cx="4480560" cy="3445999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237A6DC4-BC10-5EE0-CAD5-94EBAE627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83452" y="1060515"/>
              <a:ext cx="4480560" cy="3445999"/>
            </a:xfrm>
            <a:prstGeom prst="rect">
              <a:avLst/>
            </a:prstGeom>
          </p:spPr>
        </p:pic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4FF61F06-2B2E-9DD2-2047-B9362FAEB409}"/>
                </a:ext>
              </a:extLst>
            </p:cNvPr>
            <p:cNvGrpSpPr/>
            <p:nvPr/>
          </p:nvGrpSpPr>
          <p:grpSpPr>
            <a:xfrm>
              <a:off x="4506796" y="1575745"/>
              <a:ext cx="1516380" cy="2522220"/>
              <a:chOff x="9086416" y="1574925"/>
              <a:chExt cx="1516380" cy="252222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570632F-0DC2-0B08-A0B2-3B1D7B638BB8}"/>
                  </a:ext>
                </a:extLst>
              </p:cNvPr>
              <p:cNvSpPr/>
              <p:nvPr/>
            </p:nvSpPr>
            <p:spPr>
              <a:xfrm>
                <a:off x="9086416" y="1574925"/>
                <a:ext cx="1516380" cy="25222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CED8EA17-848D-4D58-02E4-5D8E86F418DE}"/>
                  </a:ext>
                </a:extLst>
              </p:cNvPr>
              <p:cNvSpPr/>
              <p:nvPr/>
            </p:nvSpPr>
            <p:spPr>
              <a:xfrm>
                <a:off x="9086416" y="1574925"/>
                <a:ext cx="1516380" cy="2522220"/>
              </a:xfrm>
              <a:prstGeom prst="rect">
                <a:avLst/>
              </a:prstGeom>
              <a:solidFill>
                <a:srgbClr val="FF6D6D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B3D8CEB-9215-61FB-F0A5-599401F21597}"/>
                </a:ext>
              </a:extLst>
            </p:cNvPr>
            <p:cNvSpPr/>
            <p:nvPr/>
          </p:nvSpPr>
          <p:spPr>
            <a:xfrm>
              <a:off x="6388936" y="1418587"/>
              <a:ext cx="1516380" cy="26793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901D9FE-E1F9-1D6B-B68D-5416B12A9F6A}"/>
                </a:ext>
              </a:extLst>
            </p:cNvPr>
            <p:cNvSpPr/>
            <p:nvPr/>
          </p:nvSpPr>
          <p:spPr>
            <a:xfrm>
              <a:off x="6388936" y="1418587"/>
              <a:ext cx="1516380" cy="2679377"/>
            </a:xfrm>
            <a:prstGeom prst="rect">
              <a:avLst/>
            </a:prstGeom>
            <a:solidFill>
              <a:srgbClr val="92D050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199401B-6C64-7716-DA42-38E6344BB13F}"/>
                </a:ext>
              </a:extLst>
            </p:cNvPr>
            <p:cNvSpPr txBox="1"/>
            <p:nvPr/>
          </p:nvSpPr>
          <p:spPr>
            <a:xfrm>
              <a:off x="6444882" y="3698103"/>
              <a:ext cx="1414328" cy="369332"/>
            </a:xfrm>
            <a:prstGeom prst="rect">
              <a:avLst/>
            </a:prstGeom>
            <a:solidFill>
              <a:srgbClr val="E4F3D3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accent6">
                      <a:lumMod val="50000"/>
                    </a:schemeClr>
                  </a:solidFill>
                </a:rPr>
                <a:t>Real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ADE87B6-6070-3D5B-46D1-544F5DF0A027}"/>
                </a:ext>
              </a:extLst>
            </p:cNvPr>
            <p:cNvSpPr txBox="1"/>
            <p:nvPr/>
          </p:nvSpPr>
          <p:spPr>
            <a:xfrm>
              <a:off x="4557822" y="3686878"/>
              <a:ext cx="1414328" cy="369332"/>
            </a:xfrm>
            <a:prstGeom prst="rect">
              <a:avLst/>
            </a:prstGeom>
            <a:solidFill>
              <a:srgbClr val="FFDADA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C00000"/>
                  </a:solidFill>
                </a:rPr>
                <a:t>Fake</a:t>
              </a:r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5EB96168-122C-28F4-39D1-B085B8E2F4A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2993"/>
          <a:stretch/>
        </p:blipFill>
        <p:spPr>
          <a:xfrm>
            <a:off x="4935035" y="1825369"/>
            <a:ext cx="3555054" cy="20574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3A51EBC-1629-0B59-4436-8577EFD9373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2993"/>
          <a:stretch/>
        </p:blipFill>
        <p:spPr>
          <a:xfrm>
            <a:off x="8549114" y="1839465"/>
            <a:ext cx="3555055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2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hink-cell data - do not delete" hidden="1">
            <a:extLst>
              <a:ext uri="{FF2B5EF4-FFF2-40B4-BE49-F238E27FC236}">
                <a16:creationId xmlns:a16="http://schemas.microsoft.com/office/drawing/2014/main" id="{C21E8E1A-EC27-C398-CB63-B56F367A97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3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le 1">
            <a:extLst>
              <a:ext uri="{FF2B5EF4-FFF2-40B4-BE49-F238E27FC236}">
                <a16:creationId xmlns:a16="http://schemas.microsoft.com/office/drawing/2014/main" id="{6F74A914-6F0C-725F-B266-EB82F99E31BA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Data Readiness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1F101F41-B6FA-4471-991D-1C2F80000FE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B6FCC4CC-D24E-D0A5-63B7-5449A01F863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5075E761-1C4D-5FB9-8CE9-83A1F03FE622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B2D8458A-8096-2DF3-3C51-71CBFD01C54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9B1C4D6D-D0CB-0C1B-450B-95D611F2DF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andle Missing Data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6072B9F-AD99-7D95-AD35-BE73D08C31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Remove stop-words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508BDE77-A900-F858-FA78-FE131C8CB5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Remove Numerics &amp; special characters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37DCBB61-FE0D-9366-53AC-D3E81BCD1BB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Case folding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1D12A3F7-52C3-FD29-8F9E-B1135CDF1A2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6BD6CC79-3E59-9E50-D844-6C37FAF22AC6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CFB6A3AA-7B74-05E8-CBA0-73DABD208ED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6E0B760C-4A5A-9E18-9837-027ED29EF83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D806EB78-9FAF-D387-E832-341BF6A2C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mmatisation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211E5FF3-B795-A071-C534-666EC6179A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okenisation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52120BE2-08F1-8D41-D9CF-E3E8650E3B5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Padding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BB6D2A5B-0317-7274-D046-7077194397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Transformation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848048EB-74C8-30E2-341C-F2EDCE46751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8465CCBE-FA98-FFB0-BF01-EAD47CB14790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8B2AF41D-1477-2D48-C4EE-BC99307A097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929CE5DE-0A31-342B-BB48-85B12C252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11817" y="2115517"/>
            <a:ext cx="2286000" cy="302186"/>
          </a:xfrm>
        </p:spPr>
        <p:txBody>
          <a:bodyPr/>
          <a:lstStyle/>
          <a:p>
            <a:r>
              <a:rPr lang="en-US" dirty="0"/>
              <a:t>Vectorisation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8A74F075-4AB4-4A3A-6CA7-EEB158D932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11817" y="3196285"/>
            <a:ext cx="2286000" cy="302186"/>
          </a:xfrm>
        </p:spPr>
        <p:txBody>
          <a:bodyPr/>
          <a:lstStyle/>
          <a:p>
            <a:r>
              <a:rPr lang="en-US" dirty="0"/>
              <a:t>Scaling &amp; FEATURE ENGINEERING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8081A19-B98A-6BD5-82B7-DE71DDC15155}"/>
              </a:ext>
            </a:extLst>
          </p:cNvPr>
          <p:cNvGrpSpPr/>
          <p:nvPr/>
        </p:nvGrpSpPr>
        <p:grpSpPr>
          <a:xfrm>
            <a:off x="8900932" y="4265278"/>
            <a:ext cx="2987190" cy="2070913"/>
            <a:chOff x="8900932" y="4323148"/>
            <a:chExt cx="2987190" cy="2070913"/>
          </a:xfrm>
        </p:grpSpPr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5EA43DD8-064A-59D6-212D-2D2F0F684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900932" y="4699406"/>
              <a:ext cx="2987190" cy="1694655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C7DCF34D-F9C3-91AB-C5C7-8D90DD569277}"/>
                </a:ext>
              </a:extLst>
            </p:cNvPr>
            <p:cNvSpPr/>
            <p:nvPr/>
          </p:nvSpPr>
          <p:spPr>
            <a:xfrm>
              <a:off x="8900932" y="4323148"/>
              <a:ext cx="2987190" cy="376258"/>
            </a:xfrm>
            <a:prstGeom prst="rect">
              <a:avLst/>
            </a:prstGeom>
            <a:gradFill>
              <a:gsLst>
                <a:gs pos="0">
                  <a:srgbClr val="4EA72E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UTPUT (ready for model)</a:t>
              </a:r>
            </a:p>
          </p:txBody>
        </p: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80F5BDAB-DB52-3553-A1CF-A27145DE9A07}"/>
              </a:ext>
            </a:extLst>
          </p:cNvPr>
          <p:cNvSpPr txBox="1"/>
          <p:nvPr/>
        </p:nvSpPr>
        <p:spPr>
          <a:xfrm>
            <a:off x="8843055" y="6381842"/>
            <a:ext cx="25392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ECTORISED TEXT + </a:t>
            </a:r>
          </a:p>
          <a:p>
            <a:r>
              <a:rPr lang="en-US" sz="1200" dirty="0"/>
              <a:t>LOG TRANSFORMED TEXT_LENGTH</a:t>
            </a:r>
          </a:p>
        </p:txBody>
      </p:sp>
    </p:spTree>
    <p:extLst>
      <p:ext uri="{BB962C8B-B14F-4D97-AF65-F5344CB8AC3E}">
        <p14:creationId xmlns:p14="http://schemas.microsoft.com/office/powerpoint/2010/main" val="23669090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BB906260-8A2C-B161-7146-E392A889E1FC}"/>
              </a:ext>
            </a:extLst>
          </p:cNvPr>
          <p:cNvGrpSpPr/>
          <p:nvPr/>
        </p:nvGrpSpPr>
        <p:grpSpPr>
          <a:xfrm>
            <a:off x="30386" y="-289367"/>
            <a:ext cx="12072678" cy="2048719"/>
            <a:chOff x="-196130" y="-328022"/>
            <a:chExt cx="12291674" cy="219900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9B2F12F-65A3-7ADC-9703-E913F82839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7185" y="63469"/>
              <a:ext cx="8256539" cy="1807511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67F47BB-806E-0BD4-EC3F-F1F9D25F6D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2233"/>
            <a:stretch/>
          </p:blipFill>
          <p:spPr>
            <a:xfrm>
              <a:off x="9232174" y="63470"/>
              <a:ext cx="2863370" cy="1807511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9A8B327-8FC0-83B5-EEA4-E57221E0C198}"/>
                </a:ext>
              </a:extLst>
            </p:cNvPr>
            <p:cNvSpPr txBox="1"/>
            <p:nvPr/>
          </p:nvSpPr>
          <p:spPr>
            <a:xfrm>
              <a:off x="-196130" y="-328022"/>
              <a:ext cx="1128095" cy="2199002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vert="vert270"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FEATURE SET 2:</a:t>
              </a:r>
            </a:p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VECTORISED TITLE &amp; TEXT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0775B01-8B29-3DA0-5E30-FAE2DD57B4D3}"/>
              </a:ext>
            </a:extLst>
          </p:cNvPr>
          <p:cNvGrpSpPr/>
          <p:nvPr/>
        </p:nvGrpSpPr>
        <p:grpSpPr>
          <a:xfrm>
            <a:off x="23150" y="1873417"/>
            <a:ext cx="10136613" cy="2885053"/>
            <a:chOff x="24534" y="1977592"/>
            <a:chExt cx="11372302" cy="3236751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6F0EE85-7AD3-904F-3172-A0A9F71CD466}"/>
                </a:ext>
              </a:extLst>
            </p:cNvPr>
            <p:cNvSpPr txBox="1"/>
            <p:nvPr/>
          </p:nvSpPr>
          <p:spPr>
            <a:xfrm>
              <a:off x="24534" y="2071863"/>
              <a:ext cx="1243065" cy="288505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vert="vert270"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FEATURE SET 1: </a:t>
              </a:r>
            </a:p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LOG TRANSFOMED TEXT LENGTH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CF78E60-2EE3-AA5A-4E72-98F8F80F397C}"/>
                </a:ext>
              </a:extLst>
            </p:cNvPr>
            <p:cNvGrpSpPr/>
            <p:nvPr/>
          </p:nvGrpSpPr>
          <p:grpSpPr>
            <a:xfrm>
              <a:off x="1486796" y="1977592"/>
              <a:ext cx="9910040" cy="3236751"/>
              <a:chOff x="194659" y="1751938"/>
              <a:chExt cx="11709421" cy="431482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1CDDA1EF-2667-2E70-1C4F-EC3198C28D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94659" y="1751939"/>
                <a:ext cx="5610225" cy="4314825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7A84A060-2807-D265-EDD5-D2839951BA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922380" y="1751938"/>
                <a:ext cx="5981700" cy="4314825"/>
              </a:xfrm>
              <a:prstGeom prst="rect">
                <a:avLst/>
              </a:prstGeom>
            </p:spPr>
          </p:pic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79CA44B-6D5C-2D70-C7CC-D5DBE87F6D8D}"/>
              </a:ext>
            </a:extLst>
          </p:cNvPr>
          <p:cNvGrpSpPr/>
          <p:nvPr/>
        </p:nvGrpSpPr>
        <p:grpSpPr>
          <a:xfrm>
            <a:off x="0" y="4705234"/>
            <a:ext cx="5086499" cy="2322663"/>
            <a:chOff x="0" y="5247180"/>
            <a:chExt cx="6328705" cy="288989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A51CE4C-BE60-40C0-D2CB-4AE9AAF3A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43188" y="5247180"/>
              <a:ext cx="5085517" cy="2885052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7B558DB-5EB7-3252-F5FC-DDBA4EDDB5D5}"/>
                </a:ext>
              </a:extLst>
            </p:cNvPr>
            <p:cNvSpPr txBox="1"/>
            <p:nvPr/>
          </p:nvSpPr>
          <p:spPr>
            <a:xfrm>
              <a:off x="0" y="5252022"/>
              <a:ext cx="1378587" cy="288505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vert="vert270"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COMBINED FEATURE MATRIX</a:t>
              </a:r>
            </a:p>
            <a:p>
              <a:pPr algn="ctr"/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2F795869-B3C0-611E-D0ED-922510135ABC}"/>
              </a:ext>
            </a:extLst>
          </p:cNvPr>
          <p:cNvSpPr/>
          <p:nvPr/>
        </p:nvSpPr>
        <p:spPr>
          <a:xfrm>
            <a:off x="5845215" y="5254907"/>
            <a:ext cx="1932972" cy="98384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68D7538-9AEA-C547-032D-95FF466191C3}"/>
              </a:ext>
            </a:extLst>
          </p:cNvPr>
          <p:cNvSpPr txBox="1"/>
          <p:nvPr/>
        </p:nvSpPr>
        <p:spPr>
          <a:xfrm>
            <a:off x="8449519" y="5379896"/>
            <a:ext cx="3240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 MODELLING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FB57D79-2B10-0FBC-C7EA-61A4A4F9B137}"/>
              </a:ext>
            </a:extLst>
          </p:cNvPr>
          <p:cNvSpPr/>
          <p:nvPr/>
        </p:nvSpPr>
        <p:spPr>
          <a:xfrm>
            <a:off x="9086127" y="1226916"/>
            <a:ext cx="3240912" cy="897171"/>
          </a:xfrm>
          <a:prstGeom prst="rect">
            <a:avLst/>
          </a:prstGeom>
          <a:solidFill>
            <a:srgbClr val="FF0000">
              <a:alpha val="33000"/>
            </a:srgb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30FD0E5-6466-7830-82D1-D0F07EB28C49}"/>
              </a:ext>
            </a:extLst>
          </p:cNvPr>
          <p:cNvSpPr/>
          <p:nvPr/>
        </p:nvSpPr>
        <p:spPr>
          <a:xfrm>
            <a:off x="765858" y="6472567"/>
            <a:ext cx="3240912" cy="897171"/>
          </a:xfrm>
          <a:prstGeom prst="rect">
            <a:avLst/>
          </a:prstGeom>
          <a:solidFill>
            <a:srgbClr val="FF0000">
              <a:alpha val="33000"/>
            </a:srgb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79020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CC6C58D-ED1C-FEC3-B46A-3FA6AD0825E7}"/>
              </a:ext>
            </a:extLst>
          </p:cNvPr>
          <p:cNvGrpSpPr/>
          <p:nvPr/>
        </p:nvGrpSpPr>
        <p:grpSpPr>
          <a:xfrm>
            <a:off x="521472" y="1085127"/>
            <a:ext cx="5236322" cy="4687746"/>
            <a:chOff x="729205" y="601884"/>
            <a:chExt cx="5236322" cy="4687746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760E509C-F1BE-7854-498F-EA4862141DE3}"/>
                </a:ext>
              </a:extLst>
            </p:cNvPr>
            <p:cNvSpPr/>
            <p:nvPr/>
          </p:nvSpPr>
          <p:spPr>
            <a:xfrm>
              <a:off x="995423" y="601884"/>
              <a:ext cx="4904772" cy="625033"/>
            </a:xfrm>
            <a:prstGeom prst="round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/>
                <a:t>Traditional Learning Model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131F5BC-7EFE-2795-EB95-53A2CC0307A1}"/>
                </a:ext>
              </a:extLst>
            </p:cNvPr>
            <p:cNvSpPr/>
            <p:nvPr/>
          </p:nvSpPr>
          <p:spPr>
            <a:xfrm>
              <a:off x="995423" y="1799586"/>
              <a:ext cx="4904772" cy="1169551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BF02B596-DDDC-DCED-1C96-E90CD71781E8}"/>
                </a:ext>
              </a:extLst>
            </p:cNvPr>
            <p:cNvSpPr/>
            <p:nvPr/>
          </p:nvSpPr>
          <p:spPr>
            <a:xfrm>
              <a:off x="995423" y="3732835"/>
              <a:ext cx="4970104" cy="1556795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0" name="Left Bracket 9">
              <a:extLst>
                <a:ext uri="{FF2B5EF4-FFF2-40B4-BE49-F238E27FC236}">
                  <a16:creationId xmlns:a16="http://schemas.microsoft.com/office/drawing/2014/main" id="{0024BA28-FD47-91D3-09CC-AF04D7B38377}"/>
                </a:ext>
              </a:extLst>
            </p:cNvPr>
            <p:cNvSpPr/>
            <p:nvPr/>
          </p:nvSpPr>
          <p:spPr>
            <a:xfrm>
              <a:off x="729205" y="914400"/>
              <a:ext cx="266218" cy="1145894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1" name="Left Bracket 10">
              <a:extLst>
                <a:ext uri="{FF2B5EF4-FFF2-40B4-BE49-F238E27FC236}">
                  <a16:creationId xmlns:a16="http://schemas.microsoft.com/office/drawing/2014/main" id="{5ADA312E-5C81-2431-AE38-516F5B2E21FD}"/>
                </a:ext>
              </a:extLst>
            </p:cNvPr>
            <p:cNvSpPr/>
            <p:nvPr/>
          </p:nvSpPr>
          <p:spPr>
            <a:xfrm>
              <a:off x="729205" y="914400"/>
              <a:ext cx="266218" cy="3189642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43798C5-2604-FA19-0767-23BCFC1FBC3E}"/>
                </a:ext>
              </a:extLst>
            </p:cNvPr>
            <p:cNvSpPr txBox="1"/>
            <p:nvPr/>
          </p:nvSpPr>
          <p:spPr>
            <a:xfrm>
              <a:off x="995423" y="1865276"/>
              <a:ext cx="4834359" cy="10695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/>
                <a:t>Support Vector Models(SVMs) have simple architectures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/>
                <a:t>Cheaper to build and run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/>
                <a:t>Can achieve great results with small data sets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 err="1"/>
                <a:t>Utilise</a:t>
              </a:r>
              <a:r>
                <a:rPr lang="en-US" sz="1400" dirty="0"/>
                <a:t> simple features such as frequency of word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491C307-C6AA-24F7-5BE8-A886954A2C3F}"/>
                </a:ext>
              </a:extLst>
            </p:cNvPr>
            <p:cNvSpPr txBox="1"/>
            <p:nvPr/>
          </p:nvSpPr>
          <p:spPr>
            <a:xfrm>
              <a:off x="1261641" y="3698523"/>
              <a:ext cx="4514127" cy="15388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l">
                <a:spcAft>
                  <a:spcPts val="300"/>
                </a:spcAft>
                <a:buFont typeface="Arial" panose="020B0604020202020204" pitchFamily="34" charset="0"/>
                <a:buNone/>
              </a:pPr>
              <a:r>
                <a:rPr lang="en-AU" sz="1400" b="1" u="sng" dirty="0"/>
                <a:t>Limitations </a:t>
              </a:r>
              <a:r>
                <a:rPr lang="en-AU" sz="1400" dirty="0"/>
                <a:t> 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Large data sets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Unstructured data – requires carefully labelling of data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Complex data sources like social media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Extensive manual feature engineering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E63E5CF-7A0C-5D35-B56F-9E0EB2DDB947}"/>
              </a:ext>
            </a:extLst>
          </p:cNvPr>
          <p:cNvGrpSpPr/>
          <p:nvPr/>
        </p:nvGrpSpPr>
        <p:grpSpPr>
          <a:xfrm>
            <a:off x="6382827" y="1206096"/>
            <a:ext cx="5287701" cy="4578713"/>
            <a:chOff x="6657372" y="593805"/>
            <a:chExt cx="5287701" cy="457871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29A9BFA-4CBE-212A-7279-B94F9AD7A5B4}"/>
                </a:ext>
              </a:extLst>
            </p:cNvPr>
            <p:cNvSpPr/>
            <p:nvPr/>
          </p:nvSpPr>
          <p:spPr>
            <a:xfrm>
              <a:off x="6923590" y="4083830"/>
              <a:ext cx="5021482" cy="1088688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08D04A3-FB31-2057-C5B5-4AD1C314D68E}"/>
                </a:ext>
              </a:extLst>
            </p:cNvPr>
            <p:cNvSpPr txBox="1"/>
            <p:nvPr/>
          </p:nvSpPr>
          <p:spPr>
            <a:xfrm>
              <a:off x="6923590" y="1771319"/>
              <a:ext cx="4904772" cy="19697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Complex architectures capture sequential, spatial and relational data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Able to automatically learn from more complex data including non-linear patterns of data 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Best with large, multi-dimensional data sets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More flexible and adaptable for an evolving fake news landscape – scalability 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High accuracy in detection of fake news 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6A5598CE-379F-B833-0267-EED7D3E31813}"/>
                </a:ext>
              </a:extLst>
            </p:cNvPr>
            <p:cNvSpPr/>
            <p:nvPr/>
          </p:nvSpPr>
          <p:spPr>
            <a:xfrm>
              <a:off x="6923590" y="1674508"/>
              <a:ext cx="5021483" cy="2142742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D1D3742-486A-26D8-8D00-1B3C88282347}"/>
                </a:ext>
              </a:extLst>
            </p:cNvPr>
            <p:cNvSpPr/>
            <p:nvPr/>
          </p:nvSpPr>
          <p:spPr>
            <a:xfrm>
              <a:off x="6923590" y="593805"/>
              <a:ext cx="5021482" cy="625033"/>
            </a:xfrm>
            <a:prstGeom prst="round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/>
                <a:t>Deep  Learning Model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4F20047-72D6-937B-866D-C945172D1002}"/>
                </a:ext>
              </a:extLst>
            </p:cNvPr>
            <p:cNvSpPr txBox="1"/>
            <p:nvPr/>
          </p:nvSpPr>
          <p:spPr>
            <a:xfrm>
              <a:off x="7192218" y="4102994"/>
              <a:ext cx="1905483" cy="10695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l">
                <a:spcAft>
                  <a:spcPts val="300"/>
                </a:spcAft>
                <a:buFont typeface="Arial" panose="020B0604020202020204" pitchFamily="34" charset="0"/>
                <a:buNone/>
              </a:pPr>
              <a:r>
                <a:rPr lang="en-AU" sz="1400" b="1" u="sng" dirty="0"/>
                <a:t>Limitations </a:t>
              </a:r>
              <a:r>
                <a:rPr lang="en-AU" sz="1400" dirty="0"/>
                <a:t> 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Expense to run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Build Time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Run Time</a:t>
              </a:r>
            </a:p>
          </p:txBody>
        </p:sp>
        <p:sp>
          <p:nvSpPr>
            <p:cNvPr id="22" name="Left Bracket 21">
              <a:extLst>
                <a:ext uri="{FF2B5EF4-FFF2-40B4-BE49-F238E27FC236}">
                  <a16:creationId xmlns:a16="http://schemas.microsoft.com/office/drawing/2014/main" id="{EBDBEFCF-5092-4417-1B47-D4561B118AD5}"/>
                </a:ext>
              </a:extLst>
            </p:cNvPr>
            <p:cNvSpPr/>
            <p:nvPr/>
          </p:nvSpPr>
          <p:spPr>
            <a:xfrm>
              <a:off x="6657372" y="913351"/>
              <a:ext cx="266218" cy="3546397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64F12CB-E613-F602-83F7-FBA76D5C08D8}"/>
              </a:ext>
            </a:extLst>
          </p:cNvPr>
          <p:cNvGrpSpPr/>
          <p:nvPr/>
        </p:nvGrpSpPr>
        <p:grpSpPr>
          <a:xfrm>
            <a:off x="1667164" y="-1129326"/>
            <a:ext cx="3558194" cy="1650108"/>
            <a:chOff x="3440683" y="258740"/>
            <a:chExt cx="1350020" cy="883565"/>
          </a:xfrm>
          <a:scene3d>
            <a:camera prst="orthographicFront"/>
            <a:lightRig rig="threePt" dir="t"/>
          </a:scene3d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48A7839-DD49-C462-CF6B-CA1CBD3B61A8}"/>
                </a:ext>
              </a:extLst>
            </p:cNvPr>
            <p:cNvSpPr/>
            <p:nvPr/>
          </p:nvSpPr>
          <p:spPr>
            <a:xfrm>
              <a:off x="3440683" y="258740"/>
              <a:ext cx="1350020" cy="883565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p3d>
              <a:bevelT w="139700" prst="cross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U"/>
            </a:p>
          </p:txBody>
        </p:sp>
        <p:sp>
          <p:nvSpPr>
            <p:cNvPr id="26" name="Rectangle: Rounded Corners 4">
              <a:extLst>
                <a:ext uri="{FF2B5EF4-FFF2-40B4-BE49-F238E27FC236}">
                  <a16:creationId xmlns:a16="http://schemas.microsoft.com/office/drawing/2014/main" id="{014DA2D1-495D-0C40-0798-6B4FD4B9644D}"/>
                </a:ext>
              </a:extLst>
            </p:cNvPr>
            <p:cNvSpPr txBox="1"/>
            <p:nvPr/>
          </p:nvSpPr>
          <p:spPr>
            <a:xfrm>
              <a:off x="3466562" y="284619"/>
              <a:ext cx="1298262" cy="8318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kern="1200" dirty="0"/>
                <a:t>SVM</a:t>
              </a:r>
              <a:r>
                <a:rPr lang="en-AU" sz="1100" kern="1200" baseline="0" dirty="0"/>
                <a:t> = Support Vector Model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Naïve Bayes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Decision Trees 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Radom Forest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dirty="0"/>
                <a:t>Logistic Regression</a:t>
              </a:r>
              <a:endParaRPr lang="en-AU" sz="1100" kern="1200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C77729F-3555-15F1-63D7-4A117B31AB6A}"/>
              </a:ext>
            </a:extLst>
          </p:cNvPr>
          <p:cNvGrpSpPr/>
          <p:nvPr/>
        </p:nvGrpSpPr>
        <p:grpSpPr>
          <a:xfrm>
            <a:off x="9771122" y="-878573"/>
            <a:ext cx="1864488" cy="1399355"/>
            <a:chOff x="8539163" y="444065"/>
            <a:chExt cx="1466889" cy="965588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A5D946D-368E-75CE-1CAF-D7447501A8EA}"/>
                </a:ext>
              </a:extLst>
            </p:cNvPr>
            <p:cNvSpPr/>
            <p:nvPr/>
          </p:nvSpPr>
          <p:spPr>
            <a:xfrm>
              <a:off x="8539163" y="444065"/>
              <a:ext cx="1466889" cy="965588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139700" prst="cross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U"/>
            </a:p>
          </p:txBody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47F002A8-CE87-8589-C995-0BF3C72639E0}"/>
                </a:ext>
              </a:extLst>
            </p:cNvPr>
            <p:cNvSpPr txBox="1"/>
            <p:nvPr/>
          </p:nvSpPr>
          <p:spPr>
            <a:xfrm>
              <a:off x="8567444" y="472346"/>
              <a:ext cx="1410327" cy="909026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None/>
              </a:pPr>
              <a:r>
                <a:rPr lang="en-AU" sz="1100" kern="1200" dirty="0"/>
                <a:t>LSTM</a:t>
              </a:r>
              <a:r>
                <a:rPr lang="en-AU" sz="1100" kern="1200" baseline="0" dirty="0"/>
                <a:t> = Long Short-Term Memory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RNN = Recurrent Neural network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CNN = Convolutional Neural Network</a:t>
              </a:r>
              <a:endParaRPr lang="en-AU" sz="1100" kern="1200" dirty="0"/>
            </a:p>
          </p:txBody>
        </p:sp>
      </p:grpSp>
      <p:sp>
        <p:nvSpPr>
          <p:cNvPr id="9" name="Left Bracket 8">
            <a:extLst>
              <a:ext uri="{FF2B5EF4-FFF2-40B4-BE49-F238E27FC236}">
                <a16:creationId xmlns:a16="http://schemas.microsoft.com/office/drawing/2014/main" id="{47AE157D-EE28-BCBE-DEA7-120AF8256D13}"/>
              </a:ext>
            </a:extLst>
          </p:cNvPr>
          <p:cNvSpPr/>
          <p:nvPr/>
        </p:nvSpPr>
        <p:spPr>
          <a:xfrm>
            <a:off x="6386781" y="1518612"/>
            <a:ext cx="266218" cy="1877368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04377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CC6C58D-ED1C-FEC3-B46A-3FA6AD0825E7}"/>
              </a:ext>
            </a:extLst>
          </p:cNvPr>
          <p:cNvGrpSpPr/>
          <p:nvPr/>
        </p:nvGrpSpPr>
        <p:grpSpPr>
          <a:xfrm>
            <a:off x="521472" y="1085127"/>
            <a:ext cx="5236322" cy="4687746"/>
            <a:chOff x="729205" y="601884"/>
            <a:chExt cx="5236322" cy="4687746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760E509C-F1BE-7854-498F-EA4862141DE3}"/>
                </a:ext>
              </a:extLst>
            </p:cNvPr>
            <p:cNvSpPr/>
            <p:nvPr/>
          </p:nvSpPr>
          <p:spPr>
            <a:xfrm>
              <a:off x="995423" y="601884"/>
              <a:ext cx="4904772" cy="625033"/>
            </a:xfrm>
            <a:prstGeom prst="round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/>
                <a:t>Traditional Learning Model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131F5BC-7EFE-2795-EB95-53A2CC0307A1}"/>
                </a:ext>
              </a:extLst>
            </p:cNvPr>
            <p:cNvSpPr/>
            <p:nvPr/>
          </p:nvSpPr>
          <p:spPr>
            <a:xfrm>
              <a:off x="995423" y="1799586"/>
              <a:ext cx="4904772" cy="1169551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BF02B596-DDDC-DCED-1C96-E90CD71781E8}"/>
                </a:ext>
              </a:extLst>
            </p:cNvPr>
            <p:cNvSpPr/>
            <p:nvPr/>
          </p:nvSpPr>
          <p:spPr>
            <a:xfrm>
              <a:off x="995423" y="3732835"/>
              <a:ext cx="4970104" cy="1556795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0" name="Left Bracket 9">
              <a:extLst>
                <a:ext uri="{FF2B5EF4-FFF2-40B4-BE49-F238E27FC236}">
                  <a16:creationId xmlns:a16="http://schemas.microsoft.com/office/drawing/2014/main" id="{0024BA28-FD47-91D3-09CC-AF04D7B38377}"/>
                </a:ext>
              </a:extLst>
            </p:cNvPr>
            <p:cNvSpPr/>
            <p:nvPr/>
          </p:nvSpPr>
          <p:spPr>
            <a:xfrm>
              <a:off x="729205" y="914400"/>
              <a:ext cx="266218" cy="1145894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1" name="Left Bracket 10">
              <a:extLst>
                <a:ext uri="{FF2B5EF4-FFF2-40B4-BE49-F238E27FC236}">
                  <a16:creationId xmlns:a16="http://schemas.microsoft.com/office/drawing/2014/main" id="{5ADA312E-5C81-2431-AE38-516F5B2E21FD}"/>
                </a:ext>
              </a:extLst>
            </p:cNvPr>
            <p:cNvSpPr/>
            <p:nvPr/>
          </p:nvSpPr>
          <p:spPr>
            <a:xfrm>
              <a:off x="729205" y="914400"/>
              <a:ext cx="266218" cy="3189642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43798C5-2604-FA19-0767-23BCFC1FBC3E}"/>
                </a:ext>
              </a:extLst>
            </p:cNvPr>
            <p:cNvSpPr txBox="1"/>
            <p:nvPr/>
          </p:nvSpPr>
          <p:spPr>
            <a:xfrm>
              <a:off x="995423" y="1865276"/>
              <a:ext cx="4834359" cy="10695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/>
                <a:t>Support Vector Models(SVMs) have simple architectures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/>
                <a:t>Cheaper to build and run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/>
                <a:t>Can achieve great results with small data sets</a:t>
              </a:r>
            </a:p>
            <a:p>
              <a:pPr marL="285750" indent="-2857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400" dirty="0" err="1"/>
                <a:t>Utilise</a:t>
              </a:r>
              <a:r>
                <a:rPr lang="en-US" sz="1400" dirty="0"/>
                <a:t> simple features such as frequency of word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491C307-C6AA-24F7-5BE8-A886954A2C3F}"/>
                </a:ext>
              </a:extLst>
            </p:cNvPr>
            <p:cNvSpPr txBox="1"/>
            <p:nvPr/>
          </p:nvSpPr>
          <p:spPr>
            <a:xfrm>
              <a:off x="1261641" y="3698523"/>
              <a:ext cx="4514127" cy="15388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l">
                <a:spcAft>
                  <a:spcPts val="300"/>
                </a:spcAft>
                <a:buFont typeface="Arial" panose="020B0604020202020204" pitchFamily="34" charset="0"/>
                <a:buNone/>
              </a:pPr>
              <a:r>
                <a:rPr lang="en-AU" sz="1400" b="1" u="sng" dirty="0"/>
                <a:t>Limitations </a:t>
              </a:r>
              <a:r>
                <a:rPr lang="en-AU" sz="1400" dirty="0"/>
                <a:t> 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Large data sets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Unstructured data – requires carefully labelling of data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Complex data sources like social media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Extensive manual feature engineering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E63E5CF-7A0C-5D35-B56F-9E0EB2DDB947}"/>
              </a:ext>
            </a:extLst>
          </p:cNvPr>
          <p:cNvGrpSpPr/>
          <p:nvPr/>
        </p:nvGrpSpPr>
        <p:grpSpPr>
          <a:xfrm>
            <a:off x="6382827" y="1206096"/>
            <a:ext cx="5287701" cy="4578713"/>
            <a:chOff x="6657372" y="593805"/>
            <a:chExt cx="5287701" cy="457871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29A9BFA-4CBE-212A-7279-B94F9AD7A5B4}"/>
                </a:ext>
              </a:extLst>
            </p:cNvPr>
            <p:cNvSpPr/>
            <p:nvPr/>
          </p:nvSpPr>
          <p:spPr>
            <a:xfrm>
              <a:off x="6923590" y="4083830"/>
              <a:ext cx="5021482" cy="1088688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08D04A3-FB31-2057-C5B5-4AD1C314D68E}"/>
                </a:ext>
              </a:extLst>
            </p:cNvPr>
            <p:cNvSpPr txBox="1"/>
            <p:nvPr/>
          </p:nvSpPr>
          <p:spPr>
            <a:xfrm>
              <a:off x="6923590" y="1771319"/>
              <a:ext cx="4904772" cy="19697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Complex architectures capture sequential, spatial and relational data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Able to automatically learn from more complex data including non-linear patterns of data 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Best with large, multi-dimensional data sets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More flexible and adaptable for an evolving fake news landscape – scalability 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400" dirty="0"/>
                <a:t>High accuracy in detection of fake news 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6A5598CE-379F-B833-0267-EED7D3E31813}"/>
                </a:ext>
              </a:extLst>
            </p:cNvPr>
            <p:cNvSpPr/>
            <p:nvPr/>
          </p:nvSpPr>
          <p:spPr>
            <a:xfrm>
              <a:off x="6923590" y="1674508"/>
              <a:ext cx="5021483" cy="2142742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D1D3742-486A-26D8-8D00-1B3C88282347}"/>
                </a:ext>
              </a:extLst>
            </p:cNvPr>
            <p:cNvSpPr/>
            <p:nvPr/>
          </p:nvSpPr>
          <p:spPr>
            <a:xfrm>
              <a:off x="6923590" y="593805"/>
              <a:ext cx="5021482" cy="625033"/>
            </a:xfrm>
            <a:prstGeom prst="round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/>
                <a:t>Deep  Learning Model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4F20047-72D6-937B-866D-C945172D1002}"/>
                </a:ext>
              </a:extLst>
            </p:cNvPr>
            <p:cNvSpPr txBox="1"/>
            <p:nvPr/>
          </p:nvSpPr>
          <p:spPr>
            <a:xfrm>
              <a:off x="7192218" y="4102994"/>
              <a:ext cx="1905483" cy="10695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l">
                <a:spcAft>
                  <a:spcPts val="300"/>
                </a:spcAft>
                <a:buFont typeface="Arial" panose="020B0604020202020204" pitchFamily="34" charset="0"/>
                <a:buNone/>
              </a:pPr>
              <a:r>
                <a:rPr lang="en-AU" sz="1400" b="1" u="sng" dirty="0"/>
                <a:t>Limitations </a:t>
              </a:r>
              <a:r>
                <a:rPr lang="en-AU" sz="1400" dirty="0"/>
                <a:t> 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Expense to run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Build Time</a:t>
              </a:r>
            </a:p>
            <a:p>
              <a:pPr marL="285750" lvl="0" indent="-285750" algn="l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en-AU" sz="1400" dirty="0"/>
                <a:t>Run Time</a:t>
              </a:r>
            </a:p>
          </p:txBody>
        </p:sp>
        <p:sp>
          <p:nvSpPr>
            <p:cNvPr id="22" name="Left Bracket 21">
              <a:extLst>
                <a:ext uri="{FF2B5EF4-FFF2-40B4-BE49-F238E27FC236}">
                  <a16:creationId xmlns:a16="http://schemas.microsoft.com/office/drawing/2014/main" id="{EBDBEFCF-5092-4417-1B47-D4561B118AD5}"/>
                </a:ext>
              </a:extLst>
            </p:cNvPr>
            <p:cNvSpPr/>
            <p:nvPr/>
          </p:nvSpPr>
          <p:spPr>
            <a:xfrm>
              <a:off x="6657372" y="913351"/>
              <a:ext cx="266218" cy="3546397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64F12CB-E613-F602-83F7-FBA76D5C08D8}"/>
              </a:ext>
            </a:extLst>
          </p:cNvPr>
          <p:cNvGrpSpPr/>
          <p:nvPr/>
        </p:nvGrpSpPr>
        <p:grpSpPr>
          <a:xfrm>
            <a:off x="1667164" y="-1129326"/>
            <a:ext cx="3558194" cy="1650108"/>
            <a:chOff x="3440683" y="258740"/>
            <a:chExt cx="1350020" cy="883565"/>
          </a:xfrm>
          <a:scene3d>
            <a:camera prst="orthographicFront"/>
            <a:lightRig rig="threePt" dir="t"/>
          </a:scene3d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C48A7839-DD49-C462-CF6B-CA1CBD3B61A8}"/>
                </a:ext>
              </a:extLst>
            </p:cNvPr>
            <p:cNvSpPr/>
            <p:nvPr/>
          </p:nvSpPr>
          <p:spPr>
            <a:xfrm>
              <a:off x="3440683" y="258740"/>
              <a:ext cx="1350020" cy="883565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p3d>
              <a:bevelT w="139700" prst="cross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U"/>
            </a:p>
          </p:txBody>
        </p:sp>
        <p:sp>
          <p:nvSpPr>
            <p:cNvPr id="26" name="Rectangle: Rounded Corners 4">
              <a:extLst>
                <a:ext uri="{FF2B5EF4-FFF2-40B4-BE49-F238E27FC236}">
                  <a16:creationId xmlns:a16="http://schemas.microsoft.com/office/drawing/2014/main" id="{014DA2D1-495D-0C40-0798-6B4FD4B9644D}"/>
                </a:ext>
              </a:extLst>
            </p:cNvPr>
            <p:cNvSpPr txBox="1"/>
            <p:nvPr/>
          </p:nvSpPr>
          <p:spPr>
            <a:xfrm>
              <a:off x="3466562" y="284619"/>
              <a:ext cx="1298262" cy="8318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kern="1200" dirty="0"/>
                <a:t>SVM</a:t>
              </a:r>
              <a:r>
                <a:rPr lang="en-AU" sz="1100" kern="1200" baseline="0" dirty="0"/>
                <a:t> = Support Vector Model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Naïve Bayes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Decision Trees 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Radom Forest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AU" sz="1100" dirty="0"/>
                <a:t>Logistic Regression</a:t>
              </a:r>
              <a:endParaRPr lang="en-AU" sz="1100" kern="1200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C77729F-3555-15F1-63D7-4A117B31AB6A}"/>
              </a:ext>
            </a:extLst>
          </p:cNvPr>
          <p:cNvGrpSpPr/>
          <p:nvPr/>
        </p:nvGrpSpPr>
        <p:grpSpPr>
          <a:xfrm>
            <a:off x="9771122" y="-878573"/>
            <a:ext cx="1864488" cy="1399355"/>
            <a:chOff x="8539163" y="444065"/>
            <a:chExt cx="1466889" cy="965588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0A5D946D-368E-75CE-1CAF-D7447501A8EA}"/>
                </a:ext>
              </a:extLst>
            </p:cNvPr>
            <p:cNvSpPr/>
            <p:nvPr/>
          </p:nvSpPr>
          <p:spPr>
            <a:xfrm>
              <a:off x="8539163" y="444065"/>
              <a:ext cx="1466889" cy="965588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139700" prst="cross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AU"/>
            </a:p>
          </p:txBody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47F002A8-CE87-8589-C995-0BF3C72639E0}"/>
                </a:ext>
              </a:extLst>
            </p:cNvPr>
            <p:cNvSpPr txBox="1"/>
            <p:nvPr/>
          </p:nvSpPr>
          <p:spPr>
            <a:xfrm>
              <a:off x="8567444" y="472346"/>
              <a:ext cx="1410327" cy="909026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None/>
              </a:pPr>
              <a:r>
                <a:rPr lang="en-AU" sz="1100" kern="1200" dirty="0"/>
                <a:t>LSTM</a:t>
              </a:r>
              <a:r>
                <a:rPr lang="en-AU" sz="1100" kern="1200" baseline="0" dirty="0"/>
                <a:t> = Long Short-Term Memory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RNN = Recurrent Neural network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None/>
              </a:pPr>
              <a:r>
                <a:rPr lang="en-AU" sz="1100" kern="1200" baseline="0" dirty="0"/>
                <a:t>CNN = Convolutional Neural Network</a:t>
              </a:r>
              <a:endParaRPr lang="en-AU" sz="1100" kern="1200" dirty="0"/>
            </a:p>
          </p:txBody>
        </p:sp>
      </p:grpSp>
      <p:sp>
        <p:nvSpPr>
          <p:cNvPr id="9" name="Left Bracket 8">
            <a:extLst>
              <a:ext uri="{FF2B5EF4-FFF2-40B4-BE49-F238E27FC236}">
                <a16:creationId xmlns:a16="http://schemas.microsoft.com/office/drawing/2014/main" id="{47AE157D-EE28-BCBE-DEA7-120AF8256D13}"/>
              </a:ext>
            </a:extLst>
          </p:cNvPr>
          <p:cNvSpPr/>
          <p:nvPr/>
        </p:nvSpPr>
        <p:spPr>
          <a:xfrm>
            <a:off x="6386781" y="1518612"/>
            <a:ext cx="266218" cy="1877368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5813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6</TotalTime>
  <Words>449</Words>
  <Application>Microsoft Office PowerPoint</Application>
  <PresentationFormat>Widescreen</PresentationFormat>
  <Paragraphs>131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ptos</vt:lpstr>
      <vt:lpstr>Aptos Display</vt:lpstr>
      <vt:lpstr>Arial</vt:lpstr>
      <vt:lpstr>Calibri</vt:lpstr>
      <vt:lpstr>Calibri Light</vt:lpstr>
      <vt:lpstr>Posterama</vt:lpstr>
      <vt:lpstr>Wingdings</vt:lpstr>
      <vt:lpstr>Office Theme</vt:lpstr>
      <vt:lpstr>Office Theme</vt:lpstr>
      <vt:lpstr>think-cell Slide</vt:lpstr>
      <vt:lpstr>FAKE NEWS DETECTIV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ammy Powell</dc:creator>
  <cp:lastModifiedBy>Ware, Wendy</cp:lastModifiedBy>
  <cp:revision>13</cp:revision>
  <dcterms:created xsi:type="dcterms:W3CDTF">2024-08-22T11:31:06Z</dcterms:created>
  <dcterms:modified xsi:type="dcterms:W3CDTF">2024-08-28T06:1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f2a5e4-10d8-4dfe-8082-7352c27520cb_Enabled">
    <vt:lpwstr>true</vt:lpwstr>
  </property>
  <property fmtid="{D5CDD505-2E9C-101B-9397-08002B2CF9AE}" pid="3" name="MSIP_Label_e3f2a5e4-10d8-4dfe-8082-7352c27520cb_SetDate">
    <vt:lpwstr>2024-08-27T13:35:10Z</vt:lpwstr>
  </property>
  <property fmtid="{D5CDD505-2E9C-101B-9397-08002B2CF9AE}" pid="4" name="MSIP_Label_e3f2a5e4-10d8-4dfe-8082-7352c27520cb_Method">
    <vt:lpwstr>Standard</vt:lpwstr>
  </property>
  <property fmtid="{D5CDD505-2E9C-101B-9397-08002B2CF9AE}" pid="5" name="MSIP_Label_e3f2a5e4-10d8-4dfe-8082-7352c27520cb_Name">
    <vt:lpwstr>_Official</vt:lpwstr>
  </property>
  <property fmtid="{D5CDD505-2E9C-101B-9397-08002B2CF9AE}" pid="6" name="MSIP_Label_e3f2a5e4-10d8-4dfe-8082-7352c27520cb_SiteId">
    <vt:lpwstr>2864f69d-77c3-4fbe-bbc0-97502052391a</vt:lpwstr>
  </property>
  <property fmtid="{D5CDD505-2E9C-101B-9397-08002B2CF9AE}" pid="7" name="MSIP_Label_e3f2a5e4-10d8-4dfe-8082-7352c27520cb_ActionId">
    <vt:lpwstr>bb352f66-f0be-4336-bef5-28b2481bf0f6</vt:lpwstr>
  </property>
  <property fmtid="{D5CDD505-2E9C-101B-9397-08002B2CF9AE}" pid="8" name="MSIP_Label_e3f2a5e4-10d8-4dfe-8082-7352c27520cb_ContentBits">
    <vt:lpwstr>1</vt:lpwstr>
  </property>
  <property fmtid="{D5CDD505-2E9C-101B-9397-08002B2CF9AE}" pid="9" name="ClassificationContentMarkingHeaderLocations">
    <vt:lpwstr>Office Theme:8\Office Theme:10</vt:lpwstr>
  </property>
  <property fmtid="{D5CDD505-2E9C-101B-9397-08002B2CF9AE}" pid="10" name="ClassificationContentMarkingHeaderText">
    <vt:lpwstr>[OFFICIAL]</vt:lpwstr>
  </property>
</Properties>
</file>